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7.xml" ContentType="application/vnd.openxmlformats-officedocument.presentationml.notesSlide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8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  <p:sldMasterId id="2147483712" r:id="rId3"/>
  </p:sldMasterIdLst>
  <p:notesMasterIdLst>
    <p:notesMasterId r:id="rId19"/>
  </p:notesMasterIdLst>
  <p:sldIdLst>
    <p:sldId id="643" r:id="rId4"/>
    <p:sldId id="638" r:id="rId5"/>
    <p:sldId id="640" r:id="rId6"/>
    <p:sldId id="649" r:id="rId7"/>
    <p:sldId id="650" r:id="rId8"/>
    <p:sldId id="651" r:id="rId9"/>
    <p:sldId id="617" r:id="rId10"/>
    <p:sldId id="625" r:id="rId11"/>
    <p:sldId id="626" r:id="rId12"/>
    <p:sldId id="628" r:id="rId13"/>
    <p:sldId id="644" r:id="rId14"/>
    <p:sldId id="637" r:id="rId15"/>
    <p:sldId id="598" r:id="rId16"/>
    <p:sldId id="592" r:id="rId17"/>
    <p:sldId id="618" r:id="rId18"/>
  </p:sldIdLst>
  <p:sldSz cx="9144000" cy="6858000" type="screen4x3"/>
  <p:notesSz cx="7102475" cy="10234613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rgbClr val="FFFFFF"/>
        </a:solidFill>
        <a:latin typeface="Calibri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rgbClr val="FFFFFF"/>
        </a:solidFill>
        <a:latin typeface="Calibri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rgbClr val="FFFFFF"/>
        </a:solidFill>
        <a:latin typeface="Calibri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rgbClr val="FFFFFF"/>
        </a:solidFill>
        <a:latin typeface="Calibri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rgbClr val="FFFFFF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rgbClr val="FFFFFF"/>
        </a:solidFill>
        <a:latin typeface="Calibri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rgbClr val="FFFFFF"/>
        </a:solidFill>
        <a:latin typeface="Calibri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rgbClr val="FFFFFF"/>
        </a:solidFill>
        <a:latin typeface="Calibri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rgbClr val="FFFFFF"/>
        </a:solidFill>
        <a:latin typeface="Calibri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rkady Silenko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77D"/>
    <a:srgbClr val="FF0000"/>
    <a:srgbClr val="0000FF"/>
    <a:srgbClr val="1F497D"/>
    <a:srgbClr val="A0BB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294" autoAdjust="0"/>
    <p:restoredTop sz="97942" autoAdjust="0"/>
  </p:normalViewPr>
  <p:slideViewPr>
    <p:cSldViewPr>
      <p:cViewPr varScale="1">
        <p:scale>
          <a:sx n="98" d="100"/>
          <a:sy n="98" d="100"/>
        </p:scale>
        <p:origin x="90" y="27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6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7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9529329085484772E-2"/>
          <c:y val="3.4786028154714294E-2"/>
          <c:w val="0.87372708757637496"/>
          <c:h val="0.8740761817037557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2">
                <a:lumMod val="60000"/>
                <a:lumOff val="40000"/>
              </a:schemeClr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2700">
                <a:noFill/>
                <a:prstDash val="solid"/>
              </a:ln>
            </c:spPr>
          </c:dPt>
          <c:dPt>
            <c:idx val="1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2700">
                <a:noFill/>
                <a:prstDash val="solid"/>
              </a:ln>
            </c:spPr>
          </c:dPt>
          <c:dLbls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 i="0" u="none" strike="noStrike" baseline="0">
                    <a:solidFill>
                      <a:srgbClr val="1F477D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val>
            <c:numRef>
              <c:f>Лист1!$B$2:$B$3</c:f>
              <c:numCache>
                <c:formatCode>General</c:formatCode>
                <c:ptCount val="2"/>
                <c:pt idx="0">
                  <c:v>71</c:v>
                </c:pt>
                <c:pt idx="1">
                  <c:v>20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444714184"/>
        <c:axId val="444712616"/>
      </c:barChart>
      <c:catAx>
        <c:axId val="444714184"/>
        <c:scaling>
          <c:orientation val="minMax"/>
        </c:scaling>
        <c:delete val="1"/>
        <c:axPos val="b"/>
        <c:majorTickMark val="out"/>
        <c:minorTickMark val="none"/>
        <c:tickLblPos val="nextTo"/>
        <c:crossAx val="444712616"/>
        <c:crosses val="autoZero"/>
        <c:auto val="0"/>
        <c:lblAlgn val="ctr"/>
        <c:lblOffset val="100"/>
        <c:noMultiLvlLbl val="0"/>
      </c:catAx>
      <c:valAx>
        <c:axId val="44471261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 Cyr"/>
                <a:ea typeface="Arial Cyr"/>
                <a:cs typeface="Arial Cyr"/>
              </a:defRPr>
            </a:pPr>
            <a:endParaRPr lang="ru-RU"/>
          </a:p>
        </c:txPr>
        <c:crossAx val="44471418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 Cyr"/>
          <a:ea typeface="Arial Cyr"/>
          <a:cs typeface="Arial Cyr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30"/>
      <c:rotY val="220"/>
      <c:rAngAx val="0"/>
    </c:view3D>
    <c:floor>
      <c:thickness val="0"/>
    </c:floor>
    <c:sideWall>
      <c:thickness val="0"/>
      <c:spPr>
        <a:noFill/>
        <a:ln w="22935">
          <a:noFill/>
        </a:ln>
      </c:spPr>
    </c:sideWall>
    <c:backWall>
      <c:thickness val="0"/>
      <c:spPr>
        <a:noFill/>
        <a:ln w="22935">
          <a:noFill/>
        </a:ln>
      </c:spPr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rgbClr val="5B9BD5"/>
              </a:solidFill>
              <a:ln w="11468">
                <a:solidFill>
                  <a:srgbClr val="FFFFFF"/>
                </a:solidFill>
                <a:prstDash val="solid"/>
              </a:ln>
            </c:spPr>
          </c:dPt>
          <c:dPt>
            <c:idx val="1"/>
            <c:bubble3D val="0"/>
            <c:spPr>
              <a:solidFill>
                <a:srgbClr val="ED7D31"/>
              </a:solidFill>
              <a:ln w="11468">
                <a:solidFill>
                  <a:srgbClr val="FFFFFF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-3.4348873374384754E-2"/>
                  <c:y val="0.14597409731082198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8601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2!$A$36:$A$37</c:f>
              <c:strCache>
                <c:ptCount val="2"/>
                <c:pt idx="0">
                  <c:v>НИЯУ МИФИ</c:v>
                </c:pt>
                <c:pt idx="1">
                  <c:v>Стронние организации</c:v>
                </c:pt>
              </c:strCache>
            </c:strRef>
          </c:cat>
          <c:val>
            <c:numRef>
              <c:f>Лист2!$B$36:$B$37</c:f>
              <c:numCache>
                <c:formatCode>General</c:formatCode>
                <c:ptCount val="2"/>
                <c:pt idx="0">
                  <c:v>67</c:v>
                </c:pt>
                <c:pt idx="1">
                  <c:v>8</c:v>
                </c:pt>
              </c:numCache>
            </c:numRef>
          </c:val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084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084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ayout/>
      <c:overlay val="0"/>
      <c:spPr>
        <a:noFill/>
        <a:ln w="22935">
          <a:noFill/>
        </a:ln>
      </c:spPr>
      <c:txPr>
        <a:bodyPr rot="0" spcFirstLastPara="1" vertOverflow="ellipsis" vert="horz" wrap="square" anchor="ctr" anchorCtr="1"/>
        <a:lstStyle/>
        <a:p>
          <a:pPr>
            <a:defRPr sz="813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zero"/>
    <c:showDLblsOverMax val="0"/>
  </c:chart>
  <c:spPr>
    <a:noFill/>
    <a:ln>
      <a:noFill/>
    </a:ln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2.848677574335318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2!$A$29:$A$32</c:f>
              <c:strCache>
                <c:ptCount val="4"/>
                <c:pt idx="0">
                  <c:v>ЯЭК</c:v>
                </c:pt>
                <c:pt idx="1">
                  <c:v>ЯОК</c:v>
                </c:pt>
                <c:pt idx="2">
                  <c:v>АРМЗ</c:v>
                </c:pt>
                <c:pt idx="3">
                  <c:v>ФЦРБ</c:v>
                </c:pt>
              </c:strCache>
            </c:strRef>
          </c:cat>
          <c:val>
            <c:numRef>
              <c:f>Лист2!$B$29:$B$32</c:f>
              <c:numCache>
                <c:formatCode>General</c:formatCode>
                <c:ptCount val="4"/>
                <c:pt idx="0">
                  <c:v>6</c:v>
                </c:pt>
                <c:pt idx="1">
                  <c:v>2</c:v>
                </c:pt>
                <c:pt idx="2">
                  <c:v>4</c:v>
                </c:pt>
                <c:pt idx="3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56899224"/>
        <c:axId val="356894520"/>
        <c:axId val="0"/>
      </c:bar3DChart>
      <c:catAx>
        <c:axId val="356899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56894520"/>
        <c:crosses val="autoZero"/>
        <c:auto val="1"/>
        <c:lblAlgn val="ctr"/>
        <c:lblOffset val="100"/>
        <c:noMultiLvlLbl val="0"/>
      </c:catAx>
      <c:valAx>
        <c:axId val="3568945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56899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3"/>
            <c:bubble3D val="0"/>
            <c:spPr>
              <a:solidFill>
                <a:schemeClr val="accent6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4"/>
            <c:bubble3D val="0"/>
            <c:spPr>
              <a:solidFill>
                <a:schemeClr val="accent5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5"/>
            <c:bubble3D val="0"/>
            <c:spPr>
              <a:solidFill>
                <a:schemeClr val="accent4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dLbl>
              <c:idx val="0"/>
              <c:layout>
                <c:manualLayout>
                  <c:x val="-0.19620093602621297"/>
                  <c:y val="-8.66595169426615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.13361912076748753"/>
                  <c:y val="-0.2308329733809010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4.9530001715272241E-2"/>
                  <c:y val="-0.1179806633318512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2.7178557102038748E-2"/>
                  <c:y val="-5.31455379873714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1.3717092736770645E-2"/>
                  <c:y val="-3.22424602003003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4.1691579186804488E-2"/>
                  <c:y val="-1.82317962131359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rgbClr val="1F477D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2!$A$4:$A$9</c:f>
              <c:strCache>
                <c:ptCount val="6"/>
                <c:pt idx="0">
                  <c:v>ЯЭК</c:v>
                </c:pt>
                <c:pt idx="1">
                  <c:v>ЯОК</c:v>
                </c:pt>
                <c:pt idx="2">
                  <c:v>ПАТЭС</c:v>
                </c:pt>
                <c:pt idx="3">
                  <c:v>АРМЗ</c:v>
                </c:pt>
                <c:pt idx="4">
                  <c:v>ФЦ ЯРБ</c:v>
                </c:pt>
                <c:pt idx="5">
                  <c:v>Атомфлот</c:v>
                </c:pt>
              </c:strCache>
            </c:strRef>
          </c:cat>
          <c:val>
            <c:numRef>
              <c:f>Лист2!$B$4:$B$9</c:f>
              <c:numCache>
                <c:formatCode>General</c:formatCode>
                <c:ptCount val="6"/>
                <c:pt idx="0">
                  <c:v>37</c:v>
                </c:pt>
                <c:pt idx="1">
                  <c:v>16</c:v>
                </c:pt>
                <c:pt idx="2">
                  <c:v>5</c:v>
                </c:pt>
                <c:pt idx="3">
                  <c:v>2</c:v>
                </c:pt>
                <c:pt idx="4">
                  <c:v>6</c:v>
                </c:pt>
                <c:pt idx="5">
                  <c:v>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24"/>
      <c:hPercent val="95"/>
      <c:rotY val="44"/>
      <c:depthPercent val="100"/>
      <c:rAngAx val="1"/>
    </c:view3D>
    <c:floor>
      <c:thickness val="0"/>
      <c:spPr>
        <a:solidFill>
          <a:srgbClr val="C0C0C0"/>
        </a:solidFill>
        <a:ln w="3175" cap="flat" cmpd="sng" algn="ctr">
          <a:solidFill>
            <a:srgbClr val="000000"/>
          </a:solidFill>
          <a:prstDash val="solid"/>
          <a:round/>
        </a:ln>
        <a:effectLst/>
        <a:sp3d contourW="3175">
          <a:contourClr>
            <a:srgbClr val="000000"/>
          </a:contourClr>
        </a:sp3d>
      </c:spPr>
    </c:floor>
    <c:sideWall>
      <c:thickness val="0"/>
      <c:spPr>
        <a:noFill/>
        <a:ln w="25400">
          <a:noFill/>
        </a:ln>
        <a:effectLst/>
        <a:sp3d/>
      </c:spPr>
    </c:sideWall>
    <c:backWall>
      <c:thickness val="0"/>
      <c:spPr>
        <a:noFill/>
        <a:ln w="25400"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7.3289902280130291E-3"/>
          <c:y val="6.2374245472837021E-2"/>
          <c:w val="0.94861022450873889"/>
          <c:h val="0.82595573440643866"/>
        </c:manualLayout>
      </c:layout>
      <c:bar3DChart>
        <c:barDir val="col"/>
        <c:grouping val="percentStacked"/>
        <c:varyColors val="0"/>
        <c:ser>
          <c:idx val="0"/>
          <c:order val="0"/>
          <c:tx>
            <c:strRef>
              <c:f>'E:\1111111111111111\[Книга1.xls]Лист1'!$B$1</c:f>
              <c:strCache>
                <c:ptCount val="1"/>
                <c:pt idx="0">
                  <c:v>Количество БП, охваченных ПС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numFmt formatCode="0%" sourceLinked="0"/>
            <c:spPr>
              <a:noFill/>
              <a:ln w="11752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6" b="1" i="0" u="none" strike="noStrike" kern="1200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E:\1111111111111111\[Книга1.xls]Лист1'!$A$2:$A$6</c:f>
              <c:strCache>
                <c:ptCount val="5"/>
                <c:pt idx="0">
                  <c:v>Управление отношениями с внешней средой</c:v>
                </c:pt>
                <c:pt idx="1">
                  <c:v>Планирование, координация и развитие</c:v>
                </c:pt>
                <c:pt idx="2">
                  <c:v>Безопасность и контроль</c:v>
                </c:pt>
                <c:pt idx="3">
                  <c:v>Операционные процессы</c:v>
                </c:pt>
                <c:pt idx="4">
                  <c:v>Поддерживающие процессы</c:v>
                </c:pt>
              </c:strCache>
            </c:strRef>
          </c:cat>
          <c:val>
            <c:numRef>
              <c:f>'E:\1111111111111111\[Книга1.xls]Лист1'!$B$2:$B$6</c:f>
              <c:numCache>
                <c:formatCode>General</c:formatCode>
                <c:ptCount val="5"/>
                <c:pt idx="0">
                  <c:v>0.89</c:v>
                </c:pt>
                <c:pt idx="1">
                  <c:v>0.88</c:v>
                </c:pt>
                <c:pt idx="2">
                  <c:v>0.89</c:v>
                </c:pt>
                <c:pt idx="3">
                  <c:v>0.93</c:v>
                </c:pt>
                <c:pt idx="4">
                  <c:v>0.6</c:v>
                </c:pt>
              </c:numCache>
            </c:numRef>
          </c:val>
        </c:ser>
        <c:ser>
          <c:idx val="1"/>
          <c:order val="1"/>
          <c:tx>
            <c:strRef>
              <c:f>'E:\1111111111111111\[Книга1.xls]Лист1'!$C$1</c:f>
              <c:strCache>
                <c:ptCount val="1"/>
                <c:pt idx="0">
                  <c:v>Количество БП, не охваченных ПС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numFmt formatCode="0%" sourceLinked="0"/>
            <c:spPr>
              <a:noFill/>
              <a:ln w="11752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6" b="1" i="0" u="none" strike="noStrike" kern="1200" baseline="0">
                    <a:solidFill>
                      <a:srgbClr val="FFFFFF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E:\1111111111111111\[Книга1.xls]Лист1'!$A$2:$A$6</c:f>
              <c:strCache>
                <c:ptCount val="5"/>
                <c:pt idx="0">
                  <c:v>Управление отношениями с внешней средой</c:v>
                </c:pt>
                <c:pt idx="1">
                  <c:v>Планирование, координация и развитие</c:v>
                </c:pt>
                <c:pt idx="2">
                  <c:v>Безопасность и контроль</c:v>
                </c:pt>
                <c:pt idx="3">
                  <c:v>Операционные процессы</c:v>
                </c:pt>
                <c:pt idx="4">
                  <c:v>Поддерживающие процессы</c:v>
                </c:pt>
              </c:strCache>
            </c:strRef>
          </c:cat>
          <c:val>
            <c:numRef>
              <c:f>'E:\1111111111111111\[Книга1.xls]Лист1'!$C$2:$C$6</c:f>
              <c:numCache>
                <c:formatCode>General</c:formatCode>
                <c:ptCount val="5"/>
                <c:pt idx="0">
                  <c:v>0.11</c:v>
                </c:pt>
                <c:pt idx="1">
                  <c:v>0.12</c:v>
                </c:pt>
                <c:pt idx="2">
                  <c:v>0.11</c:v>
                </c:pt>
                <c:pt idx="3">
                  <c:v>7.0000000000000007E-2</c:v>
                </c:pt>
                <c:pt idx="4">
                  <c:v>0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43394232"/>
        <c:axId val="240812400"/>
        <c:axId val="0"/>
      </c:bar3DChart>
      <c:catAx>
        <c:axId val="2433942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1469" cap="flat" cmpd="sng" algn="ctr">
            <a:solidFill>
              <a:srgbClr val="000000"/>
            </a:solidFill>
            <a:prstDash val="solid"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600" b="0" i="0" u="none" strike="noStrike" kern="1200" baseline="0">
                <a:solidFill>
                  <a:srgbClr val="000000"/>
                </a:solidFill>
                <a:latin typeface="Arial Cyr"/>
                <a:ea typeface="Arial Cyr"/>
                <a:cs typeface="Arial Cyr"/>
              </a:defRPr>
            </a:pPr>
            <a:endParaRPr lang="ru-RU"/>
          </a:p>
        </c:txPr>
        <c:crossAx val="240812400"/>
        <c:crosses val="autoZero"/>
        <c:auto val="1"/>
        <c:lblAlgn val="ctr"/>
        <c:lblOffset val="100"/>
        <c:tickMarkSkip val="1"/>
        <c:noMultiLvlLbl val="0"/>
      </c:catAx>
      <c:valAx>
        <c:axId val="240812400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243394232"/>
        <c:crosses val="autoZero"/>
        <c:crossBetween val="between"/>
      </c:valAx>
      <c:spPr>
        <a:noFill/>
        <a:ln w="11752">
          <a:noFill/>
        </a:ln>
        <a:effectLst/>
      </c:spPr>
    </c:plotArea>
    <c:legend>
      <c:legendPos val="b"/>
      <c:layout>
        <c:manualLayout>
          <c:xMode val="edge"/>
          <c:yMode val="edge"/>
          <c:x val="3.0869993164514199E-2"/>
          <c:y val="0.971830985915493"/>
          <c:w val="0.85250268762461345"/>
          <c:h val="2.5150905432595572E-2"/>
        </c:manualLayout>
      </c:layout>
      <c:overlay val="0"/>
      <c:spPr>
        <a:solidFill>
          <a:srgbClr val="FFFFFF"/>
        </a:solidFill>
        <a:ln w="1469">
          <a:solidFill>
            <a:srgbClr val="FFFFFF"/>
          </a:solidFill>
          <a:prstDash val="solid"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000000"/>
              </a:solidFill>
              <a:latin typeface="Arial Cyr"/>
              <a:ea typeface="Arial Cyr"/>
              <a:cs typeface="Arial Cyr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rgbClr val="FFFFFF"/>
    </a:solidFill>
    <a:ln w="9525" cap="flat" cmpd="sng" algn="ctr">
      <a:noFill/>
      <a:prstDash val="solid"/>
    </a:ln>
    <a:effectLst/>
  </c:spPr>
  <c:txPr>
    <a:bodyPr/>
    <a:lstStyle/>
    <a:p>
      <a:pPr>
        <a:defRPr sz="706" b="0" i="0" u="none" strike="noStrike" baseline="0">
          <a:solidFill>
            <a:srgbClr val="000000"/>
          </a:solidFill>
          <a:latin typeface="Arial Cyr"/>
          <a:ea typeface="Arial Cyr"/>
          <a:cs typeface="Arial Cyr"/>
        </a:defRPr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910863205592608"/>
          <c:y val="4.785895678125391E-2"/>
          <c:w val="0.52080280250449351"/>
          <c:h val="0.82871562005434463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2!$N$3</c:f>
              <c:strCache>
                <c:ptCount val="1"/>
                <c:pt idx="0">
                  <c:v>Студенты сп/бак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Лист2!$O$2:$U$2</c:f>
              <c:strCache>
                <c:ptCount val="7"/>
                <c:pt idx="0">
                  <c:v>НИЯУ МИФИ</c:v>
                </c:pt>
                <c:pt idx="1">
                  <c:v>ИАТЭ НИЯУ МИФИ</c:v>
                </c:pt>
                <c:pt idx="2">
                  <c:v>СарФТИ НИЯУ МИФИ</c:v>
                </c:pt>
                <c:pt idx="3">
                  <c:v>ИГЭУ</c:v>
                </c:pt>
                <c:pt idx="4">
                  <c:v>НГТУ</c:v>
                </c:pt>
                <c:pt idx="5">
                  <c:v>РоАЭС</c:v>
                </c:pt>
                <c:pt idx="6">
                  <c:v>РФЯЦ ВНИИЭФ</c:v>
                </c:pt>
              </c:strCache>
            </c:strRef>
          </c:cat>
          <c:val>
            <c:numRef>
              <c:f>Лист2!$O$3:$U$3</c:f>
              <c:numCache>
                <c:formatCode>General</c:formatCode>
                <c:ptCount val="7"/>
                <c:pt idx="0">
                  <c:v>90</c:v>
                </c:pt>
                <c:pt idx="1">
                  <c:v>31</c:v>
                </c:pt>
                <c:pt idx="2">
                  <c:v>13</c:v>
                </c:pt>
                <c:pt idx="3">
                  <c:v>10</c:v>
                </c:pt>
                <c:pt idx="4">
                  <c:v>33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1"/>
          <c:order val="1"/>
          <c:tx>
            <c:strRef>
              <c:f>Лист2!$N$4</c:f>
              <c:strCache>
                <c:ptCount val="1"/>
                <c:pt idx="0">
                  <c:v>Магистранты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Лист2!$O$2:$U$2</c:f>
              <c:strCache>
                <c:ptCount val="7"/>
                <c:pt idx="0">
                  <c:v>НИЯУ МИФИ</c:v>
                </c:pt>
                <c:pt idx="1">
                  <c:v>ИАТЭ НИЯУ МИФИ</c:v>
                </c:pt>
                <c:pt idx="2">
                  <c:v>СарФТИ НИЯУ МИФИ</c:v>
                </c:pt>
                <c:pt idx="3">
                  <c:v>ИГЭУ</c:v>
                </c:pt>
                <c:pt idx="4">
                  <c:v>НГТУ</c:v>
                </c:pt>
                <c:pt idx="5">
                  <c:v>РоАЭС</c:v>
                </c:pt>
                <c:pt idx="6">
                  <c:v>РФЯЦ ВНИИЭФ</c:v>
                </c:pt>
              </c:strCache>
            </c:strRef>
          </c:cat>
          <c:val>
            <c:numRef>
              <c:f>Лист2!$O$4:$U$4</c:f>
              <c:numCache>
                <c:formatCode>General</c:formatCode>
                <c:ptCount val="7"/>
                <c:pt idx="0">
                  <c:v>9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2"/>
          <c:order val="2"/>
          <c:tx>
            <c:strRef>
              <c:f>Лист2!$N$5</c:f>
              <c:strCache>
                <c:ptCount val="1"/>
                <c:pt idx="0">
                  <c:v>Аспиранты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Лист2!$O$2:$U$2</c:f>
              <c:strCache>
                <c:ptCount val="7"/>
                <c:pt idx="0">
                  <c:v>НИЯУ МИФИ</c:v>
                </c:pt>
                <c:pt idx="1">
                  <c:v>ИАТЭ НИЯУ МИФИ</c:v>
                </c:pt>
                <c:pt idx="2">
                  <c:v>СарФТИ НИЯУ МИФИ</c:v>
                </c:pt>
                <c:pt idx="3">
                  <c:v>ИГЭУ</c:v>
                </c:pt>
                <c:pt idx="4">
                  <c:v>НГТУ</c:v>
                </c:pt>
                <c:pt idx="5">
                  <c:v>РоАЭС</c:v>
                </c:pt>
                <c:pt idx="6">
                  <c:v>РФЯЦ ВНИИЭФ</c:v>
                </c:pt>
              </c:strCache>
            </c:strRef>
          </c:cat>
          <c:val>
            <c:numRef>
              <c:f>Лист2!$O$5:$U$5</c:f>
              <c:numCache>
                <c:formatCode>General</c:formatCode>
                <c:ptCount val="7"/>
                <c:pt idx="0">
                  <c:v>0</c:v>
                </c:pt>
                <c:pt idx="1">
                  <c:v>2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3"/>
          <c:order val="3"/>
          <c:tx>
            <c:strRef>
              <c:f>Лист2!$N$6</c:f>
              <c:strCache>
                <c:ptCount val="1"/>
                <c:pt idx="0">
                  <c:v>Сотрудники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Лист2!$O$2:$U$2</c:f>
              <c:strCache>
                <c:ptCount val="7"/>
                <c:pt idx="0">
                  <c:v>НИЯУ МИФИ</c:v>
                </c:pt>
                <c:pt idx="1">
                  <c:v>ИАТЭ НИЯУ МИФИ</c:v>
                </c:pt>
                <c:pt idx="2">
                  <c:v>СарФТИ НИЯУ МИФИ</c:v>
                </c:pt>
                <c:pt idx="3">
                  <c:v>ИГЭУ</c:v>
                </c:pt>
                <c:pt idx="4">
                  <c:v>НГТУ</c:v>
                </c:pt>
                <c:pt idx="5">
                  <c:v>РоАЭС</c:v>
                </c:pt>
                <c:pt idx="6">
                  <c:v>РФЯЦ ВНИИЭФ</c:v>
                </c:pt>
              </c:strCache>
            </c:strRef>
          </c:cat>
          <c:val>
            <c:numRef>
              <c:f>Лист2!$O$6:$U$6</c:f>
              <c:numCache>
                <c:formatCode>General</c:formatCode>
                <c:ptCount val="7"/>
                <c:pt idx="0">
                  <c:v>0</c:v>
                </c:pt>
                <c:pt idx="1">
                  <c:v>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8</c:v>
                </c:pt>
                <c:pt idx="6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09268208"/>
        <c:axId val="309268600"/>
      </c:barChart>
      <c:catAx>
        <c:axId val="30926820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rgbClr val="000000"/>
            </a:solidFill>
            <a:prstDash val="solid"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rgbClr val="000000"/>
                </a:solidFill>
                <a:latin typeface="Arial Cyr"/>
                <a:ea typeface="Arial Cyr"/>
                <a:cs typeface="Arial Cyr"/>
              </a:defRPr>
            </a:pPr>
            <a:endParaRPr lang="ru-RU"/>
          </a:p>
        </c:txPr>
        <c:crossAx val="30926860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09268600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rgbClr val="000000"/>
              </a:solidFill>
              <a:prstDash val="solid"/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 w="3175" cap="flat" cmpd="sng" algn="ctr">
            <a:solidFill>
              <a:srgbClr val="000000"/>
            </a:solidFill>
            <a:prstDash val="solid"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rgbClr val="000000"/>
                </a:solidFill>
                <a:latin typeface="Arial Cyr"/>
                <a:ea typeface="Arial Cyr"/>
                <a:cs typeface="Arial Cyr"/>
              </a:defRPr>
            </a:pPr>
            <a:endParaRPr lang="ru-RU"/>
          </a:p>
        </c:txPr>
        <c:crossAx val="309268208"/>
        <c:crosses val="autoZero"/>
        <c:crossBetween val="between"/>
      </c:valAx>
      <c:spPr>
        <a:noFill/>
        <a:ln w="12701">
          <a:solidFill>
            <a:srgbClr val="808080"/>
          </a:solidFill>
          <a:prstDash val="solid"/>
        </a:ln>
        <a:effectLst/>
      </c:spPr>
    </c:plotArea>
    <c:legend>
      <c:legendPos val="r"/>
      <c:layout>
        <c:manualLayout>
          <c:xMode val="edge"/>
          <c:yMode val="edge"/>
          <c:x val="0.72975106407518997"/>
          <c:y val="0.23778527684039494"/>
          <c:w val="0.21021440281059439"/>
          <c:h val="0.5472324292796733"/>
        </c:manualLayout>
      </c:layout>
      <c:overlay val="0"/>
      <c:spPr>
        <a:solidFill>
          <a:srgbClr val="FFFFFF"/>
        </a:solidFill>
        <a:ln w="3175">
          <a:noFill/>
          <a:prstDash val="solid"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rgbClr val="1F477D"/>
              </a:solidFill>
              <a:latin typeface="Arial Cyr"/>
              <a:ea typeface="Arial Cyr"/>
              <a:cs typeface="Arial Cyr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3175" cap="flat" cmpd="sng" algn="ctr">
      <a:noFill/>
      <a:prstDash val="solid"/>
    </a:ln>
    <a:effectLst/>
  </c:spPr>
  <c:txPr>
    <a:bodyPr/>
    <a:lstStyle/>
    <a:p>
      <a:pPr>
        <a:defRPr sz="800" b="0" i="0" u="none" strike="noStrike" baseline="0">
          <a:solidFill>
            <a:srgbClr val="000000"/>
          </a:solidFill>
          <a:latin typeface="Arial Cyr"/>
          <a:ea typeface="Arial Cyr"/>
          <a:cs typeface="Arial Cyr"/>
        </a:defRPr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28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3</c:f>
              <c:strCache>
                <c:ptCount val="2"/>
                <c:pt idx="0">
                  <c:v>Сертифицировано</c:v>
                </c:pt>
                <c:pt idx="1">
                  <c:v>Не сертифицирован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08</c:v>
                </c:pt>
                <c:pt idx="1">
                  <c:v>14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rgbClr val="1F477D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30"/>
      <c:rotY val="240"/>
      <c:rAngAx val="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rgbClr val="5B9BD5"/>
              </a:solidFill>
              <a:ln w="25395">
                <a:solidFill>
                  <a:srgbClr val="FFFFFF"/>
                </a:solidFill>
                <a:prstDash val="solid"/>
              </a:ln>
            </c:spPr>
          </c:dPt>
          <c:dPt>
            <c:idx val="1"/>
            <c:bubble3D val="0"/>
            <c:spPr>
              <a:solidFill>
                <a:srgbClr val="ED7D31"/>
              </a:solidFill>
              <a:ln w="25395">
                <a:solidFill>
                  <a:srgbClr val="FFFFFF"/>
                </a:solidFill>
                <a:prstDash val="solid"/>
              </a:ln>
            </c:spPr>
          </c:dPt>
          <c:dPt>
            <c:idx val="2"/>
            <c:bubble3D val="0"/>
            <c:spPr>
              <a:solidFill>
                <a:srgbClr val="A5A5A5"/>
              </a:solidFill>
              <a:ln w="25395">
                <a:solidFill>
                  <a:srgbClr val="FFFFFF"/>
                </a:solidFill>
                <a:prstDash val="solid"/>
              </a:ln>
            </c:spPr>
          </c:dPt>
          <c:dPt>
            <c:idx val="3"/>
            <c:bubble3D val="0"/>
            <c:spPr>
              <a:solidFill>
                <a:srgbClr val="FFC000"/>
              </a:solidFill>
              <a:ln w="25395">
                <a:solidFill>
                  <a:srgbClr val="FFFFFF"/>
                </a:solidFill>
                <a:prstDash val="solid"/>
              </a:ln>
            </c:spPr>
          </c:dPt>
          <c:dLbls>
            <c:dLbl>
              <c:idx val="0"/>
              <c:spPr>
                <a:noFill/>
                <a:ln w="25395">
                  <a:noFill/>
                </a:ln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7887969699990073E-2"/>
                  <c:y val="-5.0268030809340935E-3"/>
                </c:manualLayout>
              </c:layout>
              <c:spPr>
                <a:noFill/>
                <a:ln w="25395">
                  <a:noFill/>
                </a:ln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rgbClr val="1F477D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7.1694740689059455E-2"/>
                  <c:y val="-4.6703670988976627E-4"/>
                </c:manualLayout>
              </c:layout>
              <c:spPr>
                <a:noFill/>
                <a:ln w="25395">
                  <a:noFill/>
                </a:ln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rgbClr val="1F477D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6.8789328549121231E-2"/>
                  <c:y val="-3.1923391903121864E-2"/>
                </c:manualLayout>
              </c:layout>
              <c:spPr>
                <a:noFill/>
                <a:ln w="25395">
                  <a:noFill/>
                </a:ln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rgbClr val="1F477D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 w="25395">
                <a:noFill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3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2!$S$54:$S$57</c:f>
              <c:strCache>
                <c:ptCount val="4"/>
                <c:pt idx="0">
                  <c:v>НИЯУ МИФИ</c:v>
                </c:pt>
                <c:pt idx="1">
                  <c:v>ИГЭУ</c:v>
                </c:pt>
                <c:pt idx="2">
                  <c:v>НГТУ</c:v>
                </c:pt>
                <c:pt idx="3">
                  <c:v>МЭИ</c:v>
                </c:pt>
              </c:strCache>
            </c:strRef>
          </c:cat>
          <c:val>
            <c:numRef>
              <c:f>Лист2!$T$54:$T$57</c:f>
              <c:numCache>
                <c:formatCode>0%</c:formatCode>
                <c:ptCount val="4"/>
                <c:pt idx="0">
                  <c:v>0.83</c:v>
                </c:pt>
                <c:pt idx="1">
                  <c:v>0.05</c:v>
                </c:pt>
                <c:pt idx="2">
                  <c:v>0.06</c:v>
                </c:pt>
                <c:pt idx="3">
                  <c:v>0.0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25395">
          <a:noFill/>
        </a:ln>
      </c:spPr>
    </c:plotArea>
    <c:legend>
      <c:legendPos val="b"/>
      <c:layout/>
      <c:overlay val="0"/>
      <c:spPr>
        <a:noFill/>
        <a:ln w="25395">
          <a:noFill/>
        </a:ln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rgbClr val="1F477D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zero"/>
    <c:showDLblsOverMax val="0"/>
  </c:chart>
  <c:spPr>
    <a:noFill/>
    <a:ln>
      <a:noFill/>
    </a:ln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513" cy="512222"/>
          </a:xfrm>
          <a:prstGeom prst="rect">
            <a:avLst/>
          </a:prstGeom>
        </p:spPr>
        <p:txBody>
          <a:bodyPr vert="horz" lIns="94778" tIns="47389" rIns="94778" bIns="473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4022304" y="0"/>
            <a:ext cx="3078513" cy="512222"/>
          </a:xfrm>
          <a:prstGeom prst="rect">
            <a:avLst/>
          </a:prstGeom>
        </p:spPr>
        <p:txBody>
          <a:bodyPr vert="horz" lIns="94778" tIns="47389" rIns="94778" bIns="473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97DA1993-85BC-4381-81C4-6AA68774436B}" type="datetimeFigureOut">
              <a:rPr lang="ru-RU"/>
              <a:pPr>
                <a:defRPr/>
              </a:pPr>
              <a:t>20.09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93775" y="769938"/>
            <a:ext cx="5114925" cy="3835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78" tIns="47389" rIns="94778" bIns="47389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09917" y="4862015"/>
            <a:ext cx="5682643" cy="4605085"/>
          </a:xfrm>
          <a:prstGeom prst="rect">
            <a:avLst/>
          </a:prstGeom>
        </p:spPr>
        <p:txBody>
          <a:bodyPr vert="horz" lIns="94778" tIns="47389" rIns="94778" bIns="47389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720755"/>
            <a:ext cx="3078513" cy="512222"/>
          </a:xfrm>
          <a:prstGeom prst="rect">
            <a:avLst/>
          </a:prstGeom>
        </p:spPr>
        <p:txBody>
          <a:bodyPr vert="horz" lIns="94778" tIns="47389" rIns="94778" bIns="473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4022304" y="9720755"/>
            <a:ext cx="3078513" cy="512222"/>
          </a:xfrm>
          <a:prstGeom prst="rect">
            <a:avLst/>
          </a:prstGeom>
        </p:spPr>
        <p:txBody>
          <a:bodyPr vert="horz" lIns="94778" tIns="47389" rIns="94778" bIns="473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72281643-3FF4-47D6-8594-0EB8A993C97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494648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00F0A4B-1C03-45E0-B8F3-C6AEF45DB92C}" type="slidenum">
              <a:rPr lang="ru-RU" smtClean="0">
                <a:solidFill>
                  <a:srgbClr val="000000"/>
                </a:solidFill>
                <a:cs typeface="Arial" charset="0"/>
              </a:rPr>
              <a:pPr>
                <a:defRPr/>
              </a:pPr>
              <a:t>1</a:t>
            </a:fld>
            <a:endParaRPr lang="ru-RU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40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34963" y="690563"/>
            <a:ext cx="6764337" cy="50736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403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6982" y="5963373"/>
            <a:ext cx="6138781" cy="374265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26811192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FE4239D-0C77-44EE-8DCF-6319A2B2E48B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28593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29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813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 txBox="1">
            <a:spLocks noGrp="1"/>
          </p:cNvSpPr>
          <p:nvPr/>
        </p:nvSpPr>
        <p:spPr>
          <a:xfrm>
            <a:off x="4022304" y="9720755"/>
            <a:ext cx="3078513" cy="512222"/>
          </a:xfrm>
          <a:prstGeom prst="rect">
            <a:avLst/>
          </a:prstGeom>
          <a:noFill/>
        </p:spPr>
        <p:txBody>
          <a:bodyPr lIns="94778" tIns="47389" rIns="94778" bIns="47389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CE8BAA70-0991-46AA-8453-4A9B9D48D87D}" type="slidenum">
              <a:rPr lang="ru-RU" sz="1200">
                <a:solidFill>
                  <a:schemeClr val="tx1"/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3</a:t>
            </a:fld>
            <a:endParaRPr lang="ru-RU" sz="120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693501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50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750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 txBox="1">
            <a:spLocks noGrp="1"/>
          </p:cNvSpPr>
          <p:nvPr/>
        </p:nvSpPr>
        <p:spPr>
          <a:xfrm>
            <a:off x="4022304" y="9720755"/>
            <a:ext cx="3078513" cy="512222"/>
          </a:xfrm>
          <a:prstGeom prst="rect">
            <a:avLst/>
          </a:prstGeom>
          <a:noFill/>
        </p:spPr>
        <p:txBody>
          <a:bodyPr lIns="94778" tIns="47389" rIns="94778" bIns="47389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F53514DD-B998-4248-B5F5-FCB60F48B728}" type="slidenum">
              <a:rPr lang="ru-RU" sz="1200">
                <a:solidFill>
                  <a:schemeClr val="tx1"/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4</a:t>
            </a:fld>
            <a:endParaRPr lang="ru-RU" sz="120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057924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7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529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F7A9F88-4B43-4E9A-ABB4-BD02C6554A2A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49434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0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FA2AA4-5D9C-40EA-AD09-43A0EAC4993A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89911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4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445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BE82977-A748-44CB-AC1E-9DA153F5B649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82049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073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907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259075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832CA2C8-D3D5-4739-9021-E9F08532C556}" type="slidenum">
              <a:rPr lang="ru-RU" altLang="ru-RU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ru-RU" altLang="ru-RU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8751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1AB8419-4576-4FFA-95C6-0ABD073E8B82}" type="slidenum">
              <a:rPr lang="ru-RU" smtClean="0">
                <a:solidFill>
                  <a:srgbClr val="000000"/>
                </a:solidFill>
                <a:cs typeface="Arial" charset="0"/>
              </a:rPr>
              <a:pPr>
                <a:defRPr/>
              </a:pPr>
              <a:t>15</a:t>
            </a:fld>
            <a:endParaRPr lang="ru-RU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61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34963" y="690563"/>
            <a:ext cx="6764337" cy="50736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1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6982" y="5963373"/>
            <a:ext cx="6138781" cy="374265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1069643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6"/>
          <p:cNvGrpSpPr>
            <a:grpSpLocks/>
          </p:cNvGrpSpPr>
          <p:nvPr/>
        </p:nvGrpSpPr>
        <p:grpSpPr bwMode="auto">
          <a:xfrm>
            <a:off x="-4763" y="-26988"/>
            <a:ext cx="9148763" cy="1917701"/>
            <a:chOff x="0" y="-2023"/>
            <a:chExt cx="9115544" cy="1918856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0" y="-2023"/>
              <a:ext cx="9115544" cy="19188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Рисунок 8"/>
            <p:cNvPicPr>
              <a:picLocks noChangeAspect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683568" y="312960"/>
              <a:ext cx="1368152" cy="13375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Рисунок 9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3257809" y="251827"/>
              <a:ext cx="5182841" cy="14598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b="1">
                <a:solidFill>
                  <a:srgbClr val="004894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E126AC-562B-455E-9ECE-D34B733E616E}" type="datetime1">
              <a:rPr lang="ru-RU"/>
              <a:pPr>
                <a:defRPr/>
              </a:pPr>
              <a:t>20.09.2016</a:t>
            </a:fld>
            <a:endParaRPr lang="ru-RU"/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97925" y="6492875"/>
            <a:ext cx="3683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5DEA06-0315-4020-8182-0CED693A1AB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E870CC-4AFD-4C8E-B291-A4D2040B7E40}" type="datetime1">
              <a:rPr lang="ru-RU"/>
              <a:pPr>
                <a:defRPr/>
              </a:pPr>
              <a:t>20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F963B4-9B1D-479A-A243-7E1DC324C8A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C41D15-9268-4504-B7D3-9FB27CE5F0C6}" type="datetime1">
              <a:rPr lang="ru-RU"/>
              <a:pPr>
                <a:defRPr/>
              </a:pPr>
              <a:t>20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E86904-2E87-4C5E-A36D-CFEA6BB5564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4" y="77789"/>
            <a:ext cx="8207375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68314" y="1557338"/>
            <a:ext cx="4027487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32788" y="6448425"/>
            <a:ext cx="811212" cy="377825"/>
          </a:xfrm>
        </p:spPr>
        <p:txBody>
          <a:bodyPr/>
          <a:lstStyle>
            <a:lvl1pPr>
              <a:defRPr sz="1800">
                <a:solidFill>
                  <a:srgbClr val="41414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AEFE5F7-2C94-4E03-8EA2-2D6873A58E8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C5690C-4AE5-4AC8-952D-B578BA8D4139}" type="datetime1">
              <a:rPr lang="ru-RU"/>
              <a:pPr>
                <a:defRPr/>
              </a:pPr>
              <a:t>20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55E287-8FC2-4E74-887F-65541F93C9C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1_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875" y="352425"/>
            <a:ext cx="7758113" cy="638175"/>
          </a:xfrm>
        </p:spPr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690CFB-DB2C-4260-88C8-39E74AD4B00A}" type="datetime1">
              <a:rPr lang="ru-RU"/>
              <a:pPr>
                <a:defRPr/>
              </a:pPr>
              <a:t>20.09.2016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51A9C1-D4A1-4B94-AADF-91C7396D7F8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1_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875" y="352425"/>
            <a:ext cx="7758113" cy="638175"/>
          </a:xfrm>
        </p:spPr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418716-8F46-4F52-A585-F0112E45DDFC}" type="datetime1">
              <a:rPr lang="ru-RU"/>
              <a:pPr>
                <a:defRPr/>
              </a:pPr>
              <a:t>20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8700CA-D8CE-4A41-9995-211BD791295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90513" y="260350"/>
            <a:ext cx="1811337" cy="1798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2613" y="2181225"/>
            <a:ext cx="7866062" cy="1223963"/>
          </a:xfrm>
          <a:ln/>
          <a:effectLst/>
        </p:spPr>
        <p:txBody>
          <a:bodyPr/>
          <a:lstStyle>
            <a:lvl1pPr>
              <a:defRPr sz="3400">
                <a:solidFill>
                  <a:schemeClr val="hlink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789363"/>
            <a:ext cx="6653212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Slide Number Placeholder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32788" y="6448425"/>
            <a:ext cx="811212" cy="3778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840B5DD-E6FB-4812-B879-259578F42F2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Slide Number Placeholder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32788" y="6448425"/>
            <a:ext cx="811212" cy="3778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D393E1D-87F3-43E0-9B11-7CCA1EAFFEB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32788" y="6448425"/>
            <a:ext cx="811212" cy="3778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D61B09F-6C84-4B40-B12F-13CCD84C346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 Narrow" panose="020B0606020202030204" pitchFamily="34" charset="0"/>
              </a:defRPr>
            </a:lvl1pPr>
            <a:lvl2pPr>
              <a:defRPr>
                <a:latin typeface="Arial Narrow" panose="020B0606020202030204" pitchFamily="34" charset="0"/>
              </a:defRPr>
            </a:lvl2pPr>
            <a:lvl3pPr>
              <a:defRPr>
                <a:latin typeface="Arial Narrow" panose="020B0606020202030204" pitchFamily="34" charset="0"/>
              </a:defRPr>
            </a:lvl3pPr>
            <a:lvl4pPr>
              <a:defRPr>
                <a:latin typeface="Arial Narrow" panose="020B0606020202030204" pitchFamily="34" charset="0"/>
              </a:defRPr>
            </a:lvl4pPr>
            <a:lvl5pPr>
              <a:defRPr>
                <a:latin typeface="Arial Narrow" panose="020B0606020202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47F20B-A8E0-4A97-A91F-21FCA0E6C2DD}" type="datetime1">
              <a:rPr lang="ru-RU"/>
              <a:pPr>
                <a:defRPr/>
              </a:pPr>
              <a:t>20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9D3D13-9F3F-42EF-A3FA-CEA0F48C6FF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32788" y="6448425"/>
            <a:ext cx="811212" cy="3778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803F472-89D3-45FC-8CD2-C3B07953034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32788" y="6448425"/>
            <a:ext cx="811212" cy="3778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ED5D0EA-4CB3-4FED-A1B6-7413BA34C17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32788" y="6448425"/>
            <a:ext cx="811212" cy="3778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C8EC94B-D462-401A-817D-2D0177C844B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32788" y="6448425"/>
            <a:ext cx="811212" cy="3778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AC3C9B0-CDF1-4B18-917E-0F627408ACF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32788" y="6448425"/>
            <a:ext cx="811212" cy="3778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C9EBF8B-F7E7-47CC-B943-F63A5848029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Slide Number Placeholder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32788" y="6448425"/>
            <a:ext cx="811212" cy="3778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D0C0276-0DB0-4AAF-8042-96825B7EF7D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Slide Number Placeholder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32788" y="6448425"/>
            <a:ext cx="811212" cy="3778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4FFE483-AF83-4DDE-843B-6BE1B69ACCF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79513" y="5013325"/>
            <a:ext cx="7280275" cy="863600"/>
          </a:xfrm>
          <a:effectLst/>
        </p:spPr>
        <p:txBody>
          <a:bodyPr/>
          <a:lstStyle>
            <a:lvl1pPr>
              <a:defRPr sz="3400">
                <a:solidFill>
                  <a:schemeClr val="folHlink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79513" y="6092825"/>
            <a:ext cx="7280275" cy="360363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40281D-7100-4842-9822-D14068CBF4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F6AEA4-6BE5-47B2-B661-3C8420B039A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A00525-CB84-4594-8295-ABFA07BB7832}" type="datetime1">
              <a:rPr lang="ru-RU"/>
              <a:pPr>
                <a:defRPr/>
              </a:pPr>
              <a:t>20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31343E-F5FD-44C7-A9E5-6A861055D68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37F39E-D291-407A-908D-85A9E77E408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CACBE6-DDEE-4C0E-908D-7FC16DB3B81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A13545-0158-42F8-BB2F-DD1989838A2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6170C2-D871-4F60-9DA3-A3A056DECE9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0D6364-4489-499B-B438-3057C0BC522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DAF502-C034-4BC8-A0B1-EB0AE34987D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016B65-8126-42A2-8586-E069D12F60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13411E-CC96-4EF5-A043-776DD6BC0FE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F05381-2595-4473-B647-0119967B5CEB}" type="datetime1">
              <a:rPr lang="ru-RU"/>
              <a:pPr>
                <a:defRPr/>
              </a:pPr>
              <a:t>20.09.2016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AFBF7C-8CE7-47A9-9915-15597FB2533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1895BC-53EC-4EC0-A275-B23FAD5EE6D4}" type="datetime1">
              <a:rPr lang="ru-RU"/>
              <a:pPr>
                <a:defRPr/>
              </a:pPr>
              <a:t>20.09.2016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4B0316-FC8F-48B7-8530-FAAF4EF699A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2F7931-CC56-4D1B-A4F0-FC7324D0F719}" type="datetime1">
              <a:rPr lang="ru-RU"/>
              <a:pPr>
                <a:defRPr/>
              </a:pPr>
              <a:t>20.09.2016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E37AE9-72D9-4592-8EEE-859EDA783E9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2632AB-81FB-4198-BFC9-2B9016DA5F8A}" type="datetime1">
              <a:rPr lang="ru-RU"/>
              <a:pPr>
                <a:defRPr/>
              </a:pPr>
              <a:t>20.09.2016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DF039-AEF0-40BA-B2F9-0582D0C41F5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C1BCDC-0CED-462F-B506-16ED7FEFF0D4}" type="datetime1">
              <a:rPr lang="ru-RU"/>
              <a:pPr>
                <a:defRPr/>
              </a:pPr>
              <a:t>20.09.2016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B3A54E-7272-49CD-A495-411D167A990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E118F6-2CE9-4B21-B833-84C50C02EDC4}" type="datetime1">
              <a:rPr lang="ru-RU"/>
              <a:pPr>
                <a:defRPr/>
              </a:pPr>
              <a:t>20.09.2016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FFB990-CEB4-42FC-845D-9244D5AB341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image" Target="../media/image9.jpe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ятиугольник 3"/>
          <p:cNvSpPr/>
          <p:nvPr>
            <p:custDataLst>
              <p:tags r:id="rId17"/>
            </p:custDataLst>
          </p:nvPr>
        </p:nvSpPr>
        <p:spPr>
          <a:xfrm>
            <a:off x="8821738" y="6508750"/>
            <a:ext cx="322262" cy="350838"/>
          </a:xfrm>
          <a:prstGeom prst="homePlate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45318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>
              <a:defRPr/>
            </a:pPr>
            <a:fld id="{EEBC3F22-4B14-4901-A38C-5B4A7A620FA8}" type="datetime1">
              <a:rPr lang="ru-RU"/>
              <a:pPr>
                <a:defRPr/>
              </a:pPr>
              <a:t>20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45318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805863" y="6532563"/>
            <a:ext cx="354012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>
              <a:defRPr/>
            </a:pPr>
            <a:fld id="{AE0C5218-37AF-4ABC-839C-1D7EAA97D89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7" name="Пятиугольник 3"/>
          <p:cNvSpPr/>
          <p:nvPr>
            <p:custDataLst>
              <p:tags r:id="rId18"/>
            </p:custDataLst>
          </p:nvPr>
        </p:nvSpPr>
        <p:spPr>
          <a:xfrm>
            <a:off x="0" y="0"/>
            <a:ext cx="250825" cy="352425"/>
          </a:xfrm>
          <a:prstGeom prst="homePlate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Пятиугольник 3"/>
          <p:cNvSpPr/>
          <p:nvPr>
            <p:custDataLst>
              <p:tags r:id="rId19"/>
            </p:custDataLst>
          </p:nvPr>
        </p:nvSpPr>
        <p:spPr>
          <a:xfrm>
            <a:off x="250825" y="342900"/>
            <a:ext cx="8056563" cy="647700"/>
          </a:xfrm>
          <a:prstGeom prst="homePlate">
            <a:avLst>
              <a:gd name="adj" fmla="val 4434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Пятиугольник 3"/>
          <p:cNvSpPr/>
          <p:nvPr>
            <p:custDataLst>
              <p:tags r:id="rId20"/>
            </p:custDataLst>
          </p:nvPr>
        </p:nvSpPr>
        <p:spPr>
          <a:xfrm>
            <a:off x="251520" y="6411186"/>
            <a:ext cx="8570263" cy="18000"/>
          </a:xfrm>
          <a:prstGeom prst="homePlate">
            <a:avLst>
              <a:gd name="adj" fmla="val 0"/>
            </a:avLst>
          </a:prstGeom>
          <a:gradFill flip="none" rotWithShape="1">
            <a:gsLst>
              <a:gs pos="90000">
                <a:schemeClr val="accent1">
                  <a:lumMod val="20000"/>
                  <a:lumOff val="80000"/>
                  <a:alpha val="0"/>
                </a:schemeClr>
              </a:gs>
              <a:gs pos="10000">
                <a:schemeClr val="accent1">
                  <a:lumMod val="20000"/>
                  <a:lumOff val="80000"/>
                  <a:alpha val="0"/>
                </a:schemeClr>
              </a:gs>
              <a:gs pos="51000">
                <a:schemeClr val="tx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Нашивка 10"/>
          <p:cNvSpPr/>
          <p:nvPr>
            <p:custDataLst>
              <p:tags r:id="rId21"/>
            </p:custDataLst>
          </p:nvPr>
        </p:nvSpPr>
        <p:spPr>
          <a:xfrm>
            <a:off x="8081963" y="342900"/>
            <a:ext cx="644525" cy="647700"/>
          </a:xfrm>
          <a:prstGeom prst="chevron">
            <a:avLst>
              <a:gd name="adj" fmla="val 4453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2" name="Нашивка 11"/>
          <p:cNvSpPr/>
          <p:nvPr>
            <p:custDataLst>
              <p:tags r:id="rId22"/>
            </p:custDataLst>
          </p:nvPr>
        </p:nvSpPr>
        <p:spPr>
          <a:xfrm>
            <a:off x="8499475" y="342900"/>
            <a:ext cx="644525" cy="647700"/>
          </a:xfrm>
          <a:prstGeom prst="chevron">
            <a:avLst>
              <a:gd name="adj" fmla="val 4453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038" name="Заголовок 1"/>
          <p:cNvSpPr>
            <a:spLocks noGrp="1"/>
          </p:cNvSpPr>
          <p:nvPr>
            <p:ph type="title"/>
          </p:nvPr>
        </p:nvSpPr>
        <p:spPr bwMode="auto">
          <a:xfrm>
            <a:off x="269875" y="352425"/>
            <a:ext cx="7758113" cy="63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39" r:id="rId2"/>
    <p:sldLayoutId id="2147483738" r:id="rId3"/>
    <p:sldLayoutId id="2147483737" r:id="rId4"/>
    <p:sldLayoutId id="2147483736" r:id="rId5"/>
    <p:sldLayoutId id="2147483735" r:id="rId6"/>
    <p:sldLayoutId id="2147483734" r:id="rId7"/>
    <p:sldLayoutId id="2147483733" r:id="rId8"/>
    <p:sldLayoutId id="2147483732" r:id="rId9"/>
    <p:sldLayoutId id="2147483731" r:id="rId10"/>
    <p:sldLayoutId id="2147483730" r:id="rId11"/>
    <p:sldLayoutId id="2147483751" r:id="rId12"/>
    <p:sldLayoutId id="2147483729" r:id="rId13"/>
    <p:sldLayoutId id="2147483728" r:id="rId14"/>
    <p:sldLayoutId id="2147483727" r:id="rId15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bg1"/>
          </a:solidFill>
          <a:latin typeface="Arial Narrow" panose="020B0606020202030204" pitchFamily="34" charset="0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 Narrow" pitchFamily="34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4"/>
        </a:buBlip>
        <a:defRPr sz="2600">
          <a:solidFill>
            <a:schemeClr val="tx1"/>
          </a:solidFill>
          <a:latin typeface="Arial Narrow" pitchFamily="34" charset="0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5"/>
        </a:buBlip>
        <a:defRPr sz="2400">
          <a:solidFill>
            <a:schemeClr val="tx1"/>
          </a:solidFill>
          <a:latin typeface="Arial Narrow" pitchFamily="34" charset="0"/>
          <a:cs typeface="+mn-cs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E385B11-5F04-4204-AD7A-E1D44EB95C4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49" r:id="rId2"/>
    <p:sldLayoutId id="2147483748" r:id="rId3"/>
    <p:sldLayoutId id="2147483747" r:id="rId4"/>
    <p:sldLayoutId id="2147483746" r:id="rId5"/>
    <p:sldLayoutId id="2147483745" r:id="rId6"/>
    <p:sldLayoutId id="2147483744" r:id="rId7"/>
    <p:sldLayoutId id="2147483743" r:id="rId8"/>
    <p:sldLayoutId id="2147483742" r:id="rId9"/>
    <p:sldLayoutId id="2147483741" r:id="rId10"/>
    <p:sldLayoutId id="2147483740" r:id="rId11"/>
  </p:sldLayoutIdLst>
  <p:transition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4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5"/>
        </a:buBlip>
        <a:defRPr sz="2400">
          <a:solidFill>
            <a:schemeClr val="tx1"/>
          </a:solidFill>
          <a:latin typeface="+mn-lt"/>
          <a:cs typeface="+mn-cs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jpeg"/><Relationship Id="rId7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Relationship Id="rId9" Type="http://schemas.openxmlformats.org/officeDocument/2006/relationships/image" Target="../media/image1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jpeg"/><Relationship Id="rId7" Type="http://schemas.openxmlformats.org/officeDocument/2006/relationships/image" Target="../media/image1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Relationship Id="rId9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38638" y="5876925"/>
            <a:ext cx="4375150" cy="714375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ru-RU" sz="1600" smtClean="0">
                <a:solidFill>
                  <a:schemeClr val="folHlink"/>
                </a:solidFill>
              </a:rPr>
              <a:t>Е.Б. Весна, </a:t>
            </a:r>
          </a:p>
          <a:p>
            <a:pPr eaLnBrk="1" hangingPunct="1">
              <a:lnSpc>
                <a:spcPct val="90000"/>
              </a:lnSpc>
            </a:pPr>
            <a:r>
              <a:rPr lang="ru-RU" sz="1600" smtClean="0">
                <a:solidFill>
                  <a:schemeClr val="folHlink"/>
                </a:solidFill>
              </a:rPr>
              <a:t>Проректор НИЯУ МИФИ</a:t>
            </a:r>
          </a:p>
        </p:txBody>
      </p:sp>
      <p:pic>
        <p:nvPicPr>
          <p:cNvPr id="43010" name="Picture 9" descr="main_1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88" y="333375"/>
            <a:ext cx="9137650" cy="4402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58114" name="Picture 2" descr="main_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588" y="333375"/>
            <a:ext cx="9140826" cy="4402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58115" name="Picture 3" descr="main_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1588" y="333375"/>
            <a:ext cx="9140826" cy="4402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58116" name="Picture 4" descr="main_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-1588" y="333375"/>
            <a:ext cx="9140826" cy="4402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58117" name="Picture 5" descr="main_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0" y="357188"/>
            <a:ext cx="9139238" cy="4402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015" name="c--sw3tSuYwFh9d4syvsTVb" hidden="1"/>
          <p:cNvSpPr>
            <a:spLocks noChangeArrowheads="1"/>
          </p:cNvSpPr>
          <p:nvPr/>
        </p:nvSpPr>
        <p:spPr bwMode="auto">
          <a:xfrm>
            <a:off x="63500" y="6731000"/>
            <a:ext cx="63500" cy="63500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414142"/>
              </a:solidFill>
              <a:latin typeface="Arial" charset="0"/>
            </a:endParaRPr>
          </a:p>
        </p:txBody>
      </p:sp>
      <p:sp>
        <p:nvSpPr>
          <p:cNvPr id="12" name="Заголовок 13"/>
          <p:cNvSpPr>
            <a:spLocks noGrp="1"/>
          </p:cNvSpPr>
          <p:nvPr>
            <p:ph type="ctrTitle"/>
          </p:nvPr>
        </p:nvSpPr>
        <p:spPr>
          <a:xfrm>
            <a:off x="827088" y="4724400"/>
            <a:ext cx="7921625" cy="1081088"/>
          </a:xfrm>
        </p:spPr>
        <p:txBody>
          <a:bodyPr/>
          <a:lstStyle/>
          <a:p>
            <a:pPr algn="ctr">
              <a:defRPr/>
            </a:pPr>
            <a:r>
              <a:rPr lang="ru-RU" sz="4000" dirty="0" smtClean="0">
                <a:solidFill>
                  <a:srgbClr val="000066"/>
                </a:solidFill>
                <a:latin typeface="Tahoma" pitchFamily="34" charset="0"/>
              </a:rPr>
              <a:t/>
            </a:r>
            <a:br>
              <a:rPr lang="ru-RU" sz="4000" dirty="0" smtClean="0">
                <a:solidFill>
                  <a:srgbClr val="000066"/>
                </a:solidFill>
                <a:latin typeface="Tahoma" pitchFamily="34" charset="0"/>
              </a:rPr>
            </a:br>
            <a:r>
              <a:rPr lang="ru-RU" sz="3200" dirty="0">
                <a:latin typeface="+mn-lt"/>
                <a:ea typeface="+mn-ea"/>
                <a:cs typeface="+mn-cs"/>
              </a:rPr>
              <a:t>Опыт </a:t>
            </a:r>
            <a:r>
              <a:rPr lang="ru-RU" sz="3200" dirty="0" smtClean="0">
                <a:latin typeface="+mn-lt"/>
                <a:ea typeface="+mn-ea"/>
                <a:cs typeface="+mn-cs"/>
              </a:rPr>
              <a:t>развития системы оценки квалификаций в атомной отрасли</a:t>
            </a:r>
            <a:r>
              <a:rPr lang="ru-RU" sz="4800" dirty="0" smtClean="0">
                <a:solidFill>
                  <a:srgbClr val="000066"/>
                </a:solidFill>
                <a:latin typeface="Tahoma" pitchFamily="34" charset="0"/>
              </a:rPr>
              <a:t/>
            </a:r>
            <a:br>
              <a:rPr lang="ru-RU" sz="4800" dirty="0" smtClean="0">
                <a:solidFill>
                  <a:srgbClr val="000066"/>
                </a:solidFill>
                <a:latin typeface="Tahoma" pitchFamily="34" charset="0"/>
              </a:rPr>
            </a:br>
            <a:endParaRPr lang="ru-RU" sz="4400" dirty="0"/>
          </a:p>
        </p:txBody>
      </p:sp>
      <p:pic>
        <p:nvPicPr>
          <p:cNvPr id="43017" name="Рисунок 2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132138" y="188913"/>
            <a:ext cx="796925" cy="102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018" name="Рисунок 8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572000" y="188913"/>
            <a:ext cx="944563" cy="938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10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15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20000"/>
                            </p:stCondLst>
                            <p:childTnLst>
                              <p:par>
                                <p:cTn id="21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 nodeType="afterGroup">
                            <p:stCondLst>
                              <p:cond delay="255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afterGroup">
                            <p:stCondLst>
                              <p:cond delay="305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 nodeType="afterGroup">
                            <p:stCondLst>
                              <p:cond delay="35500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 nodeType="afterGroup">
                            <p:stCondLst>
                              <p:cond delay="40500"/>
                            </p:stCondLst>
                            <p:childTnLst>
                              <p:par>
                                <p:cTn id="4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 nodeType="afterGroup">
                            <p:stCondLst>
                              <p:cond delay="45500"/>
                            </p:stCondLst>
                            <p:childTnLst>
                              <p:par>
                                <p:cTn id="47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 nodeType="afterGroup">
                            <p:stCondLst>
                              <p:cond delay="5100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 nodeType="afterGroup">
                            <p:stCondLst>
                              <p:cond delay="56000"/>
                            </p:stCondLst>
                            <p:childTnLst>
                              <p:par>
                                <p:cTn id="6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 nodeType="afterGroup">
                            <p:stCondLst>
                              <p:cond delay="61000"/>
                            </p:stCondLst>
                            <p:childTnLst>
                              <p:par>
                                <p:cTn id="6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 nodeType="afterGroup">
                            <p:stCondLst>
                              <p:cond delay="66000"/>
                            </p:stCondLst>
                            <p:childTnLst>
                              <p:par>
                                <p:cTn id="6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 nodeType="afterGroup">
                            <p:stCondLst>
                              <p:cond delay="71000"/>
                            </p:stCondLst>
                            <p:childTnLst>
                              <p:par>
                                <p:cTn id="7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 nodeType="afterGroup">
                            <p:stCondLst>
                              <p:cond delay="76500"/>
                            </p:stCondLst>
                            <p:childTnLst>
                              <p:par>
                                <p:cTn id="8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 nodeType="afterGroup">
                            <p:stCondLst>
                              <p:cond delay="81500"/>
                            </p:stCondLst>
                            <p:childTnLst>
                              <p:par>
                                <p:cTn id="8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 nodeType="afterGroup">
                            <p:stCondLst>
                              <p:cond delay="86500"/>
                            </p:stCondLst>
                            <p:childTnLst>
                              <p:par>
                                <p:cTn id="9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 nodeType="afterGroup">
                            <p:stCondLst>
                              <p:cond delay="91500"/>
                            </p:stCondLst>
                            <p:childTnLst>
                              <p:par>
                                <p:cTn id="9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 nodeType="afterGroup">
                            <p:stCondLst>
                              <p:cond delay="96500"/>
                            </p:stCondLst>
                            <p:childTnLst>
                              <p:par>
                                <p:cTn id="9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6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 nodeType="afterGroup">
                            <p:stCondLst>
                              <p:cond delay="102000"/>
                            </p:stCondLst>
                            <p:childTnLst>
                              <p:par>
                                <p:cTn id="10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 nodeType="afterGroup">
                            <p:stCondLst>
                              <p:cond delay="107000"/>
                            </p:stCondLst>
                            <p:childTnLst>
                              <p:par>
                                <p:cTn id="1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 nodeType="afterGroup">
                            <p:stCondLst>
                              <p:cond delay="112000"/>
                            </p:stCondLst>
                            <p:childTnLst>
                              <p:par>
                                <p:cTn id="1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 nodeType="afterGroup">
                            <p:stCondLst>
                              <p:cond delay="117000"/>
                            </p:stCondLst>
                            <p:childTnLst>
                              <p:par>
                                <p:cTn id="1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 nodeType="afterGroup">
                            <p:stCondLst>
                              <p:cond delay="122000"/>
                            </p:stCondLst>
                            <p:childTnLst>
                              <p:par>
                                <p:cTn id="125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2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4" fill="hold" nodeType="afterGroup">
                            <p:stCondLst>
                              <p:cond delay="127500"/>
                            </p:stCondLst>
                            <p:childTnLst>
                              <p:par>
                                <p:cTn id="1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8" fill="hold" nodeType="afterGroup">
                            <p:stCondLst>
                              <p:cond delay="132500"/>
                            </p:stCondLst>
                            <p:childTnLst>
                              <p:par>
                                <p:cTn id="1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2" fill="hold" nodeType="afterGroup">
                            <p:stCondLst>
                              <p:cond delay="137500"/>
                            </p:stCondLst>
                            <p:childTnLst>
                              <p:par>
                                <p:cTn id="14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6" fill="hold" nodeType="afterGroup">
                            <p:stCondLst>
                              <p:cond delay="142500"/>
                            </p:stCondLst>
                            <p:childTnLst>
                              <p:par>
                                <p:cTn id="1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0" fill="hold" nodeType="afterGroup">
                            <p:stCondLst>
                              <p:cond delay="147500"/>
                            </p:stCondLst>
                            <p:childTnLst>
                              <p:par>
                                <p:cTn id="151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8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0" fill="hold" nodeType="afterGroup">
                            <p:stCondLst>
                              <p:cond delay="153000"/>
                            </p:stCondLst>
                            <p:childTnLst>
                              <p:par>
                                <p:cTn id="16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 nodeType="afterGroup">
                            <p:stCondLst>
                              <p:cond delay="158000"/>
                            </p:stCondLst>
                            <p:childTnLst>
                              <p:par>
                                <p:cTn id="16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7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8" fill="hold" nodeType="afterGroup">
                            <p:stCondLst>
                              <p:cond delay="163000"/>
                            </p:stCondLst>
                            <p:childTnLst>
                              <p:par>
                                <p:cTn id="16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2" fill="hold" nodeType="afterGroup">
                            <p:stCondLst>
                              <p:cond delay="168000"/>
                            </p:stCondLst>
                            <p:childTnLst>
                              <p:par>
                                <p:cTn id="17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6" fill="hold" nodeType="afterGroup">
                            <p:stCondLst>
                              <p:cond delay="173000"/>
                            </p:stCondLst>
                            <p:childTnLst>
                              <p:par>
                                <p:cTn id="177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3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4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6" fill="hold" nodeType="afterGroup">
                            <p:stCondLst>
                              <p:cond delay="178500"/>
                            </p:stCondLst>
                            <p:childTnLst>
                              <p:par>
                                <p:cTn id="18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9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0" fill="hold" nodeType="afterGroup">
                            <p:stCondLst>
                              <p:cond delay="183500"/>
                            </p:stCondLst>
                            <p:childTnLst>
                              <p:par>
                                <p:cTn id="19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3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4" fill="hold" nodeType="afterGroup">
                            <p:stCondLst>
                              <p:cond delay="188500"/>
                            </p:stCondLst>
                            <p:childTnLst>
                              <p:par>
                                <p:cTn id="19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7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8" fill="hold" nodeType="afterGroup">
                            <p:stCondLst>
                              <p:cond delay="193500"/>
                            </p:stCondLst>
                            <p:childTnLst>
                              <p:par>
                                <p:cTn id="19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1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2" fill="hold" nodeType="afterGroup">
                            <p:stCondLst>
                              <p:cond delay="198500"/>
                            </p:stCondLst>
                            <p:childTnLst>
                              <p:par>
                                <p:cTn id="20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9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0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2" fill="hold" nodeType="afterGroup">
                            <p:stCondLst>
                              <p:cond delay="204000"/>
                            </p:stCondLst>
                            <p:childTnLst>
                              <p:par>
                                <p:cTn id="2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5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6" fill="hold" nodeType="afterGroup">
                            <p:stCondLst>
                              <p:cond delay="209000"/>
                            </p:stCondLst>
                            <p:childTnLst>
                              <p:par>
                                <p:cTn id="2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9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0" fill="hold" nodeType="afterGroup">
                            <p:stCondLst>
                              <p:cond delay="214000"/>
                            </p:stCondLst>
                            <p:childTnLst>
                              <p:par>
                                <p:cTn id="2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3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4" fill="hold" nodeType="afterGroup">
                            <p:stCondLst>
                              <p:cond delay="219000"/>
                            </p:stCondLst>
                            <p:childTnLst>
                              <p:par>
                                <p:cTn id="2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7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8" fill="hold" nodeType="afterGroup">
                            <p:stCondLst>
                              <p:cond delay="224000"/>
                            </p:stCondLst>
                            <p:childTnLst>
                              <p:par>
                                <p:cTn id="22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5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6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8" fill="hold" nodeType="afterGroup">
                            <p:stCondLst>
                              <p:cond delay="229500"/>
                            </p:stCondLst>
                            <p:childTnLst>
                              <p:par>
                                <p:cTn id="2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1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2" fill="hold" nodeType="afterGroup">
                            <p:stCondLst>
                              <p:cond delay="234500"/>
                            </p:stCondLst>
                            <p:childTnLst>
                              <p:par>
                                <p:cTn id="24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5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6" fill="hold" nodeType="afterGroup">
                            <p:stCondLst>
                              <p:cond delay="239500"/>
                            </p:stCondLst>
                            <p:childTnLst>
                              <p:par>
                                <p:cTn id="2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9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0" fill="hold" nodeType="afterGroup">
                            <p:stCondLst>
                              <p:cond delay="244500"/>
                            </p:stCondLst>
                            <p:childTnLst>
                              <p:par>
                                <p:cTn id="25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3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4" fill="hold" nodeType="afterGroup">
                            <p:stCondLst>
                              <p:cond delay="249500"/>
                            </p:stCondLst>
                            <p:childTnLst>
                              <p:par>
                                <p:cTn id="255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1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2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3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4" fill="hold" nodeType="afterGroup">
                            <p:stCondLst>
                              <p:cond delay="255000"/>
                            </p:stCondLst>
                            <p:childTnLst>
                              <p:par>
                                <p:cTn id="26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7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8" fill="hold" nodeType="afterGroup">
                            <p:stCondLst>
                              <p:cond delay="260000"/>
                            </p:stCondLst>
                            <p:childTnLst>
                              <p:par>
                                <p:cTn id="26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1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2" fill="hold" nodeType="afterGroup">
                            <p:stCondLst>
                              <p:cond delay="265000"/>
                            </p:stCondLst>
                            <p:childTnLst>
                              <p:par>
                                <p:cTn id="27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5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6" fill="hold" nodeType="afterGroup">
                            <p:stCondLst>
                              <p:cond delay="270000"/>
                            </p:stCondLst>
                            <p:childTnLst>
                              <p:par>
                                <p:cTn id="27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9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0" fill="hold" nodeType="afterGroup">
                            <p:stCondLst>
                              <p:cond delay="275000"/>
                            </p:stCondLst>
                            <p:childTnLst>
                              <p:par>
                                <p:cTn id="281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7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8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9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0" fill="hold" nodeType="afterGroup">
                            <p:stCondLst>
                              <p:cond delay="280500"/>
                            </p:stCondLst>
                            <p:childTnLst>
                              <p:par>
                                <p:cTn id="29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3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4" fill="hold" nodeType="afterGroup">
                            <p:stCondLst>
                              <p:cond delay="285500"/>
                            </p:stCondLst>
                            <p:childTnLst>
                              <p:par>
                                <p:cTn id="29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7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8" fill="hold" nodeType="afterGroup">
                            <p:stCondLst>
                              <p:cond delay="290500"/>
                            </p:stCondLst>
                            <p:childTnLst>
                              <p:par>
                                <p:cTn id="29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1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2" fill="hold" nodeType="afterGroup">
                            <p:stCondLst>
                              <p:cond delay="295500"/>
                            </p:stCondLst>
                            <p:childTnLst>
                              <p:par>
                                <p:cTn id="30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5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6" fill="hold" nodeType="afterGroup">
                            <p:stCondLst>
                              <p:cond delay="300500"/>
                            </p:stCondLst>
                            <p:childTnLst>
                              <p:par>
                                <p:cTn id="307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3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4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5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6" fill="hold" nodeType="afterGroup">
                            <p:stCondLst>
                              <p:cond delay="306000"/>
                            </p:stCondLst>
                            <p:childTnLst>
                              <p:par>
                                <p:cTn id="3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9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0" fill="hold" nodeType="afterGroup">
                            <p:stCondLst>
                              <p:cond delay="311000"/>
                            </p:stCondLst>
                            <p:childTnLst>
                              <p:par>
                                <p:cTn id="3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3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4" fill="hold" nodeType="afterGroup">
                            <p:stCondLst>
                              <p:cond delay="316000"/>
                            </p:stCondLst>
                            <p:childTnLst>
                              <p:par>
                                <p:cTn id="3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7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8" fill="hold" nodeType="afterGroup">
                            <p:stCondLst>
                              <p:cond delay="321000"/>
                            </p:stCondLst>
                            <p:childTnLst>
                              <p:par>
                                <p:cTn id="3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1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2" fill="hold" nodeType="afterGroup">
                            <p:stCondLst>
                              <p:cond delay="326000"/>
                            </p:stCondLst>
                            <p:childTnLst>
                              <p:par>
                                <p:cTn id="33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9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0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1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2" fill="hold" nodeType="afterGroup">
                            <p:stCondLst>
                              <p:cond delay="331500"/>
                            </p:stCondLst>
                            <p:childTnLst>
                              <p:par>
                                <p:cTn id="34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5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6" fill="hold" nodeType="afterGroup">
                            <p:stCondLst>
                              <p:cond delay="336500"/>
                            </p:stCondLst>
                            <p:childTnLst>
                              <p:par>
                                <p:cTn id="3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9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0" fill="hold" nodeType="afterGroup">
                            <p:stCondLst>
                              <p:cond delay="341500"/>
                            </p:stCondLst>
                            <p:childTnLst>
                              <p:par>
                                <p:cTn id="35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3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4" fill="hold" nodeType="afterGroup">
                            <p:stCondLst>
                              <p:cond delay="346500"/>
                            </p:stCondLst>
                            <p:childTnLst>
                              <p:par>
                                <p:cTn id="35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7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8" fill="hold" nodeType="afterGroup">
                            <p:stCondLst>
                              <p:cond delay="351500"/>
                            </p:stCondLst>
                            <p:childTnLst>
                              <p:par>
                                <p:cTn id="35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5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6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7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8" fill="hold" nodeType="afterGroup">
                            <p:stCondLst>
                              <p:cond delay="357000"/>
                            </p:stCondLst>
                            <p:childTnLst>
                              <p:par>
                                <p:cTn id="36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1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2" fill="hold" nodeType="afterGroup">
                            <p:stCondLst>
                              <p:cond delay="362000"/>
                            </p:stCondLst>
                            <p:childTnLst>
                              <p:par>
                                <p:cTn id="37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5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6" fill="hold" nodeType="afterGroup">
                            <p:stCondLst>
                              <p:cond delay="367000"/>
                            </p:stCondLst>
                            <p:childTnLst>
                              <p:par>
                                <p:cTn id="37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9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0" fill="hold" nodeType="afterGroup">
                            <p:stCondLst>
                              <p:cond delay="372000"/>
                            </p:stCondLst>
                            <p:childTnLst>
                              <p:par>
                                <p:cTn id="38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3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4" fill="hold" nodeType="afterGroup">
                            <p:stCondLst>
                              <p:cond delay="377000"/>
                            </p:stCondLst>
                            <p:childTnLst>
                              <p:par>
                                <p:cTn id="385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1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2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3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4" fill="hold" nodeType="afterGroup">
                            <p:stCondLst>
                              <p:cond delay="382500"/>
                            </p:stCondLst>
                            <p:childTnLst>
                              <p:par>
                                <p:cTn id="39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7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8" fill="hold" nodeType="afterGroup">
                            <p:stCondLst>
                              <p:cond delay="387500"/>
                            </p:stCondLst>
                            <p:childTnLst>
                              <p:par>
                                <p:cTn id="39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1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2" fill="hold" nodeType="afterGroup">
                            <p:stCondLst>
                              <p:cond delay="392500"/>
                            </p:stCondLst>
                            <p:childTnLst>
                              <p:par>
                                <p:cTn id="40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5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6" fill="hold" nodeType="afterGroup">
                            <p:stCondLst>
                              <p:cond delay="397500"/>
                            </p:stCondLst>
                            <p:childTnLst>
                              <p:par>
                                <p:cTn id="40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9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0" fill="hold" nodeType="afterGroup">
                            <p:stCondLst>
                              <p:cond delay="402500"/>
                            </p:stCondLst>
                            <p:childTnLst>
                              <p:par>
                                <p:cTn id="411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7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8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9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0" fill="hold" nodeType="afterGroup">
                            <p:stCondLst>
                              <p:cond delay="408000"/>
                            </p:stCondLst>
                            <p:childTnLst>
                              <p:par>
                                <p:cTn id="4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3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4" fill="hold" nodeType="afterGroup">
                            <p:stCondLst>
                              <p:cond delay="413000"/>
                            </p:stCondLst>
                            <p:childTnLst>
                              <p:par>
                                <p:cTn id="4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7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8" fill="hold" nodeType="afterGroup">
                            <p:stCondLst>
                              <p:cond delay="418000"/>
                            </p:stCondLst>
                            <p:childTnLst>
                              <p:par>
                                <p:cTn id="4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1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2" fill="hold" nodeType="afterGroup">
                            <p:stCondLst>
                              <p:cond delay="423000"/>
                            </p:stCondLst>
                            <p:childTnLst>
                              <p:par>
                                <p:cTn id="4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5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6" fill="hold" nodeType="afterGroup">
                            <p:stCondLst>
                              <p:cond delay="428000"/>
                            </p:stCondLst>
                            <p:childTnLst>
                              <p:par>
                                <p:cTn id="437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3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4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5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6" fill="hold" nodeType="afterGroup">
                            <p:stCondLst>
                              <p:cond delay="433500"/>
                            </p:stCondLst>
                            <p:childTnLst>
                              <p:par>
                                <p:cTn id="4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9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0" fill="hold" nodeType="afterGroup">
                            <p:stCondLst>
                              <p:cond delay="438500"/>
                            </p:stCondLst>
                            <p:childTnLst>
                              <p:par>
                                <p:cTn id="45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3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4" fill="hold" nodeType="afterGroup">
                            <p:stCondLst>
                              <p:cond delay="443500"/>
                            </p:stCondLst>
                            <p:childTnLst>
                              <p:par>
                                <p:cTn id="45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7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8" fill="hold" nodeType="afterGroup">
                            <p:stCondLst>
                              <p:cond delay="448500"/>
                            </p:stCondLst>
                            <p:childTnLst>
                              <p:par>
                                <p:cTn id="45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1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2" fill="hold" nodeType="afterGroup">
                            <p:stCondLst>
                              <p:cond delay="453500"/>
                            </p:stCondLst>
                            <p:childTnLst>
                              <p:par>
                                <p:cTn id="46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9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0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1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2" fill="hold" nodeType="afterGroup">
                            <p:stCondLst>
                              <p:cond delay="459000"/>
                            </p:stCondLst>
                            <p:childTnLst>
                              <p:par>
                                <p:cTn id="47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5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6" fill="hold" nodeType="afterGroup">
                            <p:stCondLst>
                              <p:cond delay="464000"/>
                            </p:stCondLst>
                            <p:childTnLst>
                              <p:par>
                                <p:cTn id="47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9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0" fill="hold" nodeType="afterGroup">
                            <p:stCondLst>
                              <p:cond delay="469000"/>
                            </p:stCondLst>
                            <p:childTnLst>
                              <p:par>
                                <p:cTn id="48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3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4" fill="hold" nodeType="afterGroup">
                            <p:stCondLst>
                              <p:cond delay="474000"/>
                            </p:stCondLst>
                            <p:childTnLst>
                              <p:par>
                                <p:cTn id="48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7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8" fill="hold" nodeType="afterGroup">
                            <p:stCondLst>
                              <p:cond delay="479000"/>
                            </p:stCondLst>
                            <p:childTnLst>
                              <p:par>
                                <p:cTn id="48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5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6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7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8" fill="hold" nodeType="afterGroup">
                            <p:stCondLst>
                              <p:cond delay="484500"/>
                            </p:stCondLst>
                            <p:childTnLst>
                              <p:par>
                                <p:cTn id="49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1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2" fill="hold" nodeType="afterGroup">
                            <p:stCondLst>
                              <p:cond delay="489500"/>
                            </p:stCondLst>
                            <p:childTnLst>
                              <p:par>
                                <p:cTn id="50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5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6" fill="hold" nodeType="afterGroup">
                            <p:stCondLst>
                              <p:cond delay="494500"/>
                            </p:stCondLst>
                            <p:childTnLst>
                              <p:par>
                                <p:cTn id="50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9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0" fill="hold" nodeType="afterGroup">
                            <p:stCondLst>
                              <p:cond delay="499500"/>
                            </p:stCondLst>
                            <p:childTnLst>
                              <p:par>
                                <p:cTn id="5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3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4" fill="hold" nodeType="afterGroup">
                            <p:stCondLst>
                              <p:cond delay="504500"/>
                            </p:stCondLst>
                            <p:childTnLst>
                              <p:par>
                                <p:cTn id="515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1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2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3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4" fill="hold" nodeType="afterGroup">
                            <p:stCondLst>
                              <p:cond delay="510000"/>
                            </p:stCondLst>
                            <p:childTnLst>
                              <p:par>
                                <p:cTn id="5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7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8" fill="hold" nodeType="afterGroup">
                            <p:stCondLst>
                              <p:cond delay="515000"/>
                            </p:stCondLst>
                            <p:childTnLst>
                              <p:par>
                                <p:cTn id="5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1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2" fill="hold" nodeType="afterGroup">
                            <p:stCondLst>
                              <p:cond delay="520000"/>
                            </p:stCondLst>
                            <p:childTnLst>
                              <p:par>
                                <p:cTn id="5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5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6" fill="hold" nodeType="afterGroup">
                            <p:stCondLst>
                              <p:cond delay="525000"/>
                            </p:stCondLst>
                            <p:childTnLst>
                              <p:par>
                                <p:cTn id="5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9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0" fill="hold" nodeType="afterGroup">
                            <p:stCondLst>
                              <p:cond delay="530000"/>
                            </p:stCondLst>
                            <p:childTnLst>
                              <p:par>
                                <p:cTn id="541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7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8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9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0" fill="hold" nodeType="afterGroup">
                            <p:stCondLst>
                              <p:cond delay="535500"/>
                            </p:stCondLst>
                            <p:childTnLst>
                              <p:par>
                                <p:cTn id="55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3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4" fill="hold" nodeType="afterGroup">
                            <p:stCondLst>
                              <p:cond delay="540500"/>
                            </p:stCondLst>
                            <p:childTnLst>
                              <p:par>
                                <p:cTn id="55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7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8" fill="hold" nodeType="afterGroup">
                            <p:stCondLst>
                              <p:cond delay="545500"/>
                            </p:stCondLst>
                            <p:childTnLst>
                              <p:par>
                                <p:cTn id="55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1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2" fill="hold" nodeType="afterGroup">
                            <p:stCondLst>
                              <p:cond delay="550500"/>
                            </p:stCondLst>
                            <p:childTnLst>
                              <p:par>
                                <p:cTn id="56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5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6" fill="hold" nodeType="afterGroup">
                            <p:stCondLst>
                              <p:cond delay="555500"/>
                            </p:stCondLst>
                            <p:childTnLst>
                              <p:par>
                                <p:cTn id="567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3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4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5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6" fill="hold" nodeType="afterGroup">
                            <p:stCondLst>
                              <p:cond delay="561000"/>
                            </p:stCondLst>
                            <p:childTnLst>
                              <p:par>
                                <p:cTn id="57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9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0" fill="hold" nodeType="afterGroup">
                            <p:stCondLst>
                              <p:cond delay="566000"/>
                            </p:stCondLst>
                            <p:childTnLst>
                              <p:par>
                                <p:cTn id="58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3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4" fill="hold" nodeType="afterGroup">
                            <p:stCondLst>
                              <p:cond delay="571000"/>
                            </p:stCondLst>
                            <p:childTnLst>
                              <p:par>
                                <p:cTn id="58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7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8" fill="hold" nodeType="afterGroup">
                            <p:stCondLst>
                              <p:cond delay="576000"/>
                            </p:stCondLst>
                            <p:childTnLst>
                              <p:par>
                                <p:cTn id="58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1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2" fill="hold" nodeType="afterGroup">
                            <p:stCondLst>
                              <p:cond delay="581000"/>
                            </p:stCondLst>
                            <p:childTnLst>
                              <p:par>
                                <p:cTn id="59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9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0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1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2" fill="hold" nodeType="afterGroup">
                            <p:stCondLst>
                              <p:cond delay="586500"/>
                            </p:stCondLst>
                            <p:childTnLst>
                              <p:par>
                                <p:cTn id="60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5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6" fill="hold" nodeType="afterGroup">
                            <p:stCondLst>
                              <p:cond delay="591500"/>
                            </p:stCondLst>
                            <p:childTnLst>
                              <p:par>
                                <p:cTn id="60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9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0" fill="hold" nodeType="afterGroup">
                            <p:stCondLst>
                              <p:cond delay="596500"/>
                            </p:stCondLst>
                            <p:childTnLst>
                              <p:par>
                                <p:cTn id="6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3" dur="2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4" fill="hold" nodeType="afterGroup">
                            <p:stCondLst>
                              <p:cond delay="598500"/>
                            </p:stCondLst>
                            <p:childTnLst>
                              <p:par>
                                <p:cTn id="6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7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8" fill="hold" nodeType="afterGroup">
                            <p:stCondLst>
                              <p:cond delay="603500"/>
                            </p:stCondLst>
                            <p:childTnLst>
                              <p:par>
                                <p:cTn id="61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5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6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7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8" fill="hold" nodeType="afterGroup">
                            <p:stCondLst>
                              <p:cond delay="609000"/>
                            </p:stCondLst>
                            <p:childTnLst>
                              <p:par>
                                <p:cTn id="6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1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2" fill="hold" nodeType="afterGroup">
                            <p:stCondLst>
                              <p:cond delay="614000"/>
                            </p:stCondLst>
                            <p:childTnLst>
                              <p:par>
                                <p:cTn id="6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5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6" fill="hold" nodeType="afterGroup">
                            <p:stCondLst>
                              <p:cond delay="619000"/>
                            </p:stCondLst>
                            <p:childTnLst>
                              <p:par>
                                <p:cTn id="6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9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0" fill="hold" nodeType="afterGroup">
                            <p:stCondLst>
                              <p:cond delay="624000"/>
                            </p:stCondLst>
                            <p:childTnLst>
                              <p:par>
                                <p:cTn id="6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3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4" fill="hold" nodeType="afterGroup">
                            <p:stCondLst>
                              <p:cond delay="629000"/>
                            </p:stCondLst>
                            <p:childTnLst>
                              <p:par>
                                <p:cTn id="645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1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2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3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4" fill="hold" nodeType="afterGroup">
                            <p:stCondLst>
                              <p:cond delay="634500"/>
                            </p:stCondLst>
                            <p:childTnLst>
                              <p:par>
                                <p:cTn id="65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7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8" fill="hold" nodeType="afterGroup">
                            <p:stCondLst>
                              <p:cond delay="639500"/>
                            </p:stCondLst>
                            <p:childTnLst>
                              <p:par>
                                <p:cTn id="65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1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2" fill="hold" nodeType="afterGroup">
                            <p:stCondLst>
                              <p:cond delay="644500"/>
                            </p:stCondLst>
                            <p:childTnLst>
                              <p:par>
                                <p:cTn id="66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5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6" fill="hold" nodeType="afterGroup">
                            <p:stCondLst>
                              <p:cond delay="649500"/>
                            </p:stCondLst>
                            <p:childTnLst>
                              <p:par>
                                <p:cTn id="66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9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0" fill="hold" nodeType="afterGroup">
                            <p:stCondLst>
                              <p:cond delay="654500"/>
                            </p:stCondLst>
                            <p:childTnLst>
                              <p:par>
                                <p:cTn id="671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7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78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9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0" fill="hold" nodeType="afterGroup">
                            <p:stCondLst>
                              <p:cond delay="660000"/>
                            </p:stCondLst>
                            <p:childTnLst>
                              <p:par>
                                <p:cTn id="68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3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4" fill="hold" nodeType="afterGroup">
                            <p:stCondLst>
                              <p:cond delay="665000"/>
                            </p:stCondLst>
                            <p:childTnLst>
                              <p:par>
                                <p:cTn id="68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7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8" fill="hold" nodeType="afterGroup">
                            <p:stCondLst>
                              <p:cond delay="670000"/>
                            </p:stCondLst>
                            <p:childTnLst>
                              <p:par>
                                <p:cTn id="68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1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2" fill="hold" nodeType="afterGroup">
                            <p:stCondLst>
                              <p:cond delay="675000"/>
                            </p:stCondLst>
                            <p:childTnLst>
                              <p:par>
                                <p:cTn id="69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5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5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 smtClean="0">
                <a:latin typeface="Arial" charset="0"/>
              </a:rPr>
              <a:t>Карта профессиональных квалификаций</a:t>
            </a:r>
          </a:p>
        </p:txBody>
      </p:sp>
      <p:sp>
        <p:nvSpPr>
          <p:cNvPr id="103426" name="Rectangle 3"/>
          <p:cNvSpPr>
            <a:spLocks noGrp="1"/>
          </p:cNvSpPr>
          <p:nvPr>
            <p:ph type="body" idx="1"/>
          </p:nvPr>
        </p:nvSpPr>
        <p:spPr>
          <a:xfrm>
            <a:off x="646610" y="4581128"/>
            <a:ext cx="7957838" cy="1800200"/>
          </a:xfrm>
        </p:spPr>
        <p:txBody>
          <a:bodyPr/>
          <a:lstStyle/>
          <a:p>
            <a:pPr marL="0" indent="0">
              <a:spcBef>
                <a:spcPts val="0"/>
              </a:spcBef>
              <a:buFont typeface="Arial" charset="0"/>
              <a:buNone/>
              <a:tabLst>
                <a:tab pos="0" algn="l"/>
              </a:tabLst>
            </a:pPr>
            <a:r>
              <a:rPr lang="en-US" sz="1400" b="1" dirty="0" smtClean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sz="1400" b="1" dirty="0" smtClean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а профессиональных квалификаций в сфере атомной энергии позволит выстроить системную работу при:</a:t>
            </a:r>
            <a:endParaRPr lang="en-US" sz="1400" b="1" dirty="0" smtClean="0">
              <a:solidFill>
                <a:srgbClr val="1F47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Font typeface="Arial" charset="0"/>
              <a:buNone/>
              <a:tabLst>
                <a:tab pos="0" algn="l"/>
              </a:tabLst>
            </a:pPr>
            <a:endParaRPr lang="en-US" sz="1400" b="1" dirty="0" smtClean="0">
              <a:solidFill>
                <a:srgbClr val="1F47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0"/>
              </a:spcBef>
              <a:tabLst>
                <a:tab pos="361950" algn="l"/>
              </a:tabLst>
            </a:pPr>
            <a:r>
              <a:rPr lang="ru-RU" sz="1400" dirty="0" smtClean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е и согласовании экспертным сообществом профессиональных стандартов </a:t>
            </a:r>
            <a:endParaRPr lang="en-US" sz="1400" dirty="0" smtClean="0">
              <a:solidFill>
                <a:srgbClr val="1F47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0"/>
              </a:spcBef>
              <a:tabLst>
                <a:tab pos="361950" algn="l"/>
              </a:tabLst>
            </a:pPr>
            <a:r>
              <a:rPr lang="ru-RU" sz="1400" dirty="0" smtClean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уализации уже принятых профессиональных стандартов и выравнивании уровней квалификации в них </a:t>
            </a:r>
            <a:endParaRPr lang="en-US" sz="1400" dirty="0" smtClean="0">
              <a:solidFill>
                <a:srgbClr val="1F47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0"/>
              </a:spcBef>
              <a:tabLst>
                <a:tab pos="361950" algn="l"/>
              </a:tabLst>
            </a:pPr>
            <a:r>
              <a:rPr lang="ru-RU" sz="1400" dirty="0" smtClean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ении наименований квалификаций и разработке комплектов оценочных средств (КОС) для их оценки </a:t>
            </a:r>
          </a:p>
        </p:txBody>
      </p:sp>
      <p:sp>
        <p:nvSpPr>
          <p:cNvPr id="103427" name="Номер слайда 1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2DBE887-D259-4368-840D-1FD2AF3B40AB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ru-RU" smtClean="0"/>
          </a:p>
        </p:txBody>
      </p:sp>
      <p:pic>
        <p:nvPicPr>
          <p:cNvPr id="103428" name="Picture 5" descr="Карта профквалификаций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88020" y="1124744"/>
            <a:ext cx="6624340" cy="31728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14000"/>
              </a:prst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60059116"/>
              </p:ext>
            </p:extLst>
          </p:nvPr>
        </p:nvGraphicFramePr>
        <p:xfrm>
          <a:off x="269875" y="4091523"/>
          <a:ext cx="8593981" cy="2398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5473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Результаты оценки квалификаций</a:t>
            </a:r>
            <a:endParaRPr lang="ru-RU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475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13E9750-3879-4DB2-955B-CCFA71965180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ru-RU" smtClean="0"/>
          </a:p>
        </p:txBody>
      </p:sp>
      <p:pic>
        <p:nvPicPr>
          <p:cNvPr id="6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9717" y="1556792"/>
            <a:ext cx="1443971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1004946041"/>
              </p:ext>
            </p:extLst>
          </p:nvPr>
        </p:nvGraphicFramePr>
        <p:xfrm>
          <a:off x="1979712" y="1484784"/>
          <a:ext cx="3493824" cy="2142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Объект 2"/>
          <p:cNvSpPr>
            <a:spLocks noGrp="1"/>
          </p:cNvSpPr>
          <p:nvPr>
            <p:ph idx="1"/>
          </p:nvPr>
        </p:nvSpPr>
        <p:spPr>
          <a:xfrm>
            <a:off x="1187624" y="3843263"/>
            <a:ext cx="6381750" cy="377825"/>
          </a:xfrm>
        </p:spPr>
        <p:txBody>
          <a:bodyPr/>
          <a:lstStyle/>
          <a:p>
            <a:pPr marL="0" indent="0" algn="ctr">
              <a:buFont typeface="Arial" charset="0"/>
              <a:buNone/>
            </a:pPr>
            <a:r>
              <a:rPr lang="ru-RU" sz="1200" b="1" dirty="0" smtClean="0">
                <a:solidFill>
                  <a:srgbClr val="1F477D"/>
                </a:solidFill>
                <a:latin typeface="Arial" charset="0"/>
                <a:cs typeface="Arial" charset="0"/>
              </a:rPr>
              <a:t>Соотношение групп сертифицируемых в различных организациях</a:t>
            </a:r>
          </a:p>
        </p:txBody>
      </p:sp>
      <p:sp>
        <p:nvSpPr>
          <p:cNvPr id="10" name="Объект 2"/>
          <p:cNvSpPr txBox="1">
            <a:spLocks/>
          </p:cNvSpPr>
          <p:nvPr/>
        </p:nvSpPr>
        <p:spPr bwMode="auto">
          <a:xfrm>
            <a:off x="5345707" y="1059905"/>
            <a:ext cx="3402757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spcBef>
                <a:spcPct val="20000"/>
              </a:spcBef>
              <a:buFont typeface="Arial" charset="0"/>
              <a:buNone/>
            </a:pPr>
            <a:r>
              <a:rPr lang="ru-RU" sz="1200" b="1" dirty="0">
                <a:solidFill>
                  <a:srgbClr val="1F477D"/>
                </a:solidFill>
                <a:latin typeface="Arial" charset="0"/>
                <a:cs typeface="Arial" charset="0"/>
              </a:rPr>
              <a:t>Доля участия вузов ассоциации в процедуре оценки квалификаций</a:t>
            </a:r>
          </a:p>
        </p:txBody>
      </p:sp>
      <p:graphicFrame>
        <p:nvGraphicFramePr>
          <p:cNvPr id="3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14291850"/>
              </p:ext>
            </p:extLst>
          </p:nvPr>
        </p:nvGraphicFramePr>
        <p:xfrm>
          <a:off x="5630912" y="1593620"/>
          <a:ext cx="3009900" cy="1989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Объект 2"/>
          <p:cNvSpPr txBox="1">
            <a:spLocks/>
          </p:cNvSpPr>
          <p:nvPr/>
        </p:nvSpPr>
        <p:spPr bwMode="auto">
          <a:xfrm>
            <a:off x="2987824" y="1203921"/>
            <a:ext cx="1637804" cy="28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spcBef>
                <a:spcPct val="20000"/>
              </a:spcBef>
              <a:buFont typeface="Arial" charset="0"/>
              <a:buNone/>
            </a:pPr>
            <a:r>
              <a:rPr lang="ru-RU" sz="1200" b="1" dirty="0" smtClean="0">
                <a:solidFill>
                  <a:srgbClr val="1F477D"/>
                </a:solidFill>
                <a:latin typeface="Arial" charset="0"/>
                <a:cs typeface="Arial" charset="0"/>
              </a:rPr>
              <a:t>2012 – 2015 гг.</a:t>
            </a:r>
            <a:endParaRPr lang="ru-RU" sz="1200" b="1" dirty="0">
              <a:solidFill>
                <a:srgbClr val="1F477D"/>
              </a:solidFill>
              <a:latin typeface="Arial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87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25413" y="333375"/>
            <a:ext cx="8047037" cy="687388"/>
          </a:xfrm>
        </p:spPr>
        <p:txBody>
          <a:bodyPr/>
          <a:lstStyle/>
          <a:p>
            <a:pPr marL="176213" eaLnBrk="1" hangingPunct="1"/>
            <a:r>
              <a:rPr lang="ru-RU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Использования профессиональных стандартов в </a:t>
            </a:r>
            <a:br>
              <a:rPr lang="ru-RU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фессиональной оценке квалификаций</a:t>
            </a:r>
          </a:p>
        </p:txBody>
      </p:sp>
      <p:sp>
        <p:nvSpPr>
          <p:cNvPr id="256088" name="Номер слайда 3"/>
          <p:cNvSpPr txBox="1">
            <a:spLocks noGrp="1"/>
          </p:cNvSpPr>
          <p:nvPr/>
        </p:nvSpPr>
        <p:spPr bwMode="auto">
          <a:xfrm>
            <a:off x="8805863" y="6532563"/>
            <a:ext cx="354012" cy="303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fld id="{06B092A4-C792-4520-ABAB-066609936E9B}" type="slidenum">
              <a:rPr lang="ru-RU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12</a:t>
            </a:fld>
            <a:endParaRPr lang="ru-RU" sz="12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56071" name="Group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9865069"/>
              </p:ext>
            </p:extLst>
          </p:nvPr>
        </p:nvGraphicFramePr>
        <p:xfrm>
          <a:off x="4932040" y="1794286"/>
          <a:ext cx="4023517" cy="4233228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1976466"/>
                <a:gridCol w="813936"/>
                <a:gridCol w="1233115"/>
              </a:tblGrid>
              <a:tr h="71278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 центра оценки профессиональных квалификаций</a:t>
                      </a:r>
                      <a:endParaRPr kumimoji="0" lang="ru-RU" altLang="ru-RU" sz="9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8" marR="91438" anchor="ctr" horzOverflow="overflow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1F4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положение</a:t>
                      </a:r>
                      <a:endParaRPr kumimoji="0" lang="ru-RU" altLang="ru-RU" sz="9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8" marR="9143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1F47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тус</a:t>
                      </a:r>
                      <a:endParaRPr kumimoji="0" lang="ru-RU" altLang="ru-RU" sz="9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8" marR="9143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1F477D"/>
                    </a:solidFill>
                  </a:tcPr>
                </a:tc>
              </a:tr>
              <a:tr h="77787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ловной экспертно-методический центр оценки и сертификации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фессиональных квалификаций специалистов атомной отрасли</a:t>
                      </a:r>
                      <a:endParaRPr kumimoji="0" lang="ru-RU" alt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F477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8" marR="91438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. Москва</a:t>
                      </a:r>
                      <a:endParaRPr kumimoji="0" lang="ru-RU" alt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F477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8" marR="91438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кредитован 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решение СПК АЭ от 15.09.2016)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F477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8" marR="91438" anchor="ctr" horzOverflow="overflow"/>
                </a:tc>
              </a:tr>
              <a:tr h="6397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нтр оценки и сертификации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фессиональных квалификаций специалистов атомной отрасли –ресурсный центр</a:t>
                      </a:r>
                      <a:endParaRPr kumimoji="0" lang="ru-RU" altLang="ru-RU" sz="900" b="1" i="0" u="none" strike="noStrike" cap="none" normalizeH="0" baseline="0" smtClean="0">
                        <a:ln>
                          <a:noFill/>
                        </a:ln>
                        <a:solidFill>
                          <a:srgbClr val="1F477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8" marR="91438" anchor="ctr" horzOverflow="overflow"/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. Обнинск</a:t>
                      </a:r>
                      <a:endParaRPr kumimoji="0" lang="ru-RU" altLang="ru-RU" sz="900" b="1" i="0" u="none" strike="noStrike" cap="none" normalizeH="0" baseline="0" smtClean="0">
                        <a:ln>
                          <a:noFill/>
                        </a:ln>
                        <a:solidFill>
                          <a:srgbClr val="1F477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8" marR="91438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здан (планируется к аккредитации)</a:t>
                      </a:r>
                      <a:endParaRPr kumimoji="0" lang="ru-RU" alt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F477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8" marR="91438" anchor="ctr" horzOverflow="overflow"/>
                </a:tc>
              </a:tr>
              <a:tr h="7762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нтр оценки и сертификации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фессиональных квалификаций специалистов атомной отрасли (ядерно-энергетический комплекс) –ресурсный центр</a:t>
                      </a:r>
                      <a:endParaRPr kumimoji="0" lang="ru-RU" altLang="ru-RU" sz="900" b="1" i="0" u="none" strike="noStrike" cap="none" normalizeH="0" baseline="0" smtClean="0">
                        <a:ln>
                          <a:noFill/>
                        </a:ln>
                        <a:solidFill>
                          <a:srgbClr val="1F477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8" marR="91438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. Волгодонск</a:t>
                      </a:r>
                      <a:endParaRPr kumimoji="0" lang="ru-RU" altLang="ru-RU" sz="900" b="1" i="0" u="none" strike="noStrike" cap="none" normalizeH="0" baseline="0" smtClean="0">
                        <a:ln>
                          <a:noFill/>
                        </a:ln>
                        <a:solidFill>
                          <a:srgbClr val="1F477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8" marR="91438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кредитован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решение СПК АЭ от 15.09.2016)</a:t>
                      </a:r>
                      <a:endParaRPr kumimoji="0" lang="ru-RU" altLang="ru-RU" sz="9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1F477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8" marR="91438" anchor="ctr" horzOverflow="overflow"/>
                </a:tc>
              </a:tr>
              <a:tr h="77787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нтр оценки и сертификации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фессиональных квалификаций специалистов атомной отрасли (ядерно-оружейный комплекс) –ресурсный центр</a:t>
                      </a:r>
                      <a:endParaRPr kumimoji="0" lang="ru-RU" alt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F477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8" marR="91438" anchor="ctr" horzOverflow="overflow"/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. Саров</a:t>
                      </a:r>
                      <a:endParaRPr kumimoji="0" lang="ru-RU" altLang="ru-RU" sz="900" b="1" i="0" u="none" strike="noStrike" cap="none" normalizeH="0" baseline="0" smtClean="0">
                        <a:ln>
                          <a:noFill/>
                        </a:ln>
                        <a:solidFill>
                          <a:srgbClr val="1F477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8" marR="91438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ируется к регистрации – 2016</a:t>
                      </a:r>
                      <a:endParaRPr kumimoji="0" lang="ru-RU" alt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F477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8" marR="91438" anchor="ctr" horzOverflow="overflow"/>
                </a:tc>
              </a:tr>
            </a:tbl>
          </a:graphicData>
        </a:graphic>
      </p:graphicFrame>
      <p:graphicFrame>
        <p:nvGraphicFramePr>
          <p:cNvPr id="7" name="Group 10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2382367"/>
              </p:ext>
            </p:extLst>
          </p:nvPr>
        </p:nvGraphicFramePr>
        <p:xfrm>
          <a:off x="107504" y="1369952"/>
          <a:ext cx="4731890" cy="4865865"/>
        </p:xfrm>
        <a:graphic>
          <a:graphicData uri="http://schemas.openxmlformats.org/drawingml/2006/table">
            <a:tbl>
              <a:tblPr/>
              <a:tblGrid>
                <a:gridCol w="222514"/>
                <a:gridCol w="1160654"/>
                <a:gridCol w="2163085"/>
                <a:gridCol w="384856"/>
                <a:gridCol w="800781"/>
              </a:tblGrid>
              <a:tr h="30434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kumimoji="0" lang="ru-RU" altLang="ru-RU" sz="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77D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звание университета</a:t>
                      </a:r>
                      <a:endParaRPr kumimoji="0" lang="ru-RU" altLang="ru-RU" sz="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77D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пециальность/направление подготовки </a:t>
                      </a:r>
                      <a:endParaRPr kumimoji="0" lang="ru-RU" altLang="ru-RU" sz="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77D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-во студентов</a:t>
                      </a:r>
                      <a:endParaRPr kumimoji="0" lang="ru-RU" altLang="ru-RU" sz="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77D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оки проведения сертификации</a:t>
                      </a:r>
                      <a:endParaRPr kumimoji="0" lang="ru-RU" altLang="ru-RU" sz="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77D"/>
                    </a:solidFill>
                  </a:tcPr>
                </a:tc>
              </a:tr>
              <a:tr h="202898">
                <a:tc rowSpan="7">
                  <a:txBody>
                    <a:bodyPr/>
                    <a:lstStyle>
                      <a:lvl1pPr marL="228600" indent="-22860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228600" marR="0" lvl="0" indent="-22860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ru-RU" alt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kumimoji="0" lang="ru-RU" altLang="ru-RU" sz="7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77D"/>
                    </a:solidFill>
                  </a:tcPr>
                </a:tc>
                <a:tc rowSpan="7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ЯУ МИФИ (Москва)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диационная безопасность человека и окружающей среды 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rowSpan="1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к. 400</a:t>
                      </a:r>
                      <a:endParaRPr kumimoji="0" lang="ru-RU" alt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rowSpan="1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октябрь-декабрь 2016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20289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изика пучков заряженных частиц и ускорительная техника 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54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лектроника и автоматика физических установок 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3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Ядерные физика и технологии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3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Ядерная энергетика и теплофизика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3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Ядерные реакторы и энергетические установки 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397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изика металлов 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0170">
                <a:tc row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ru-RU" alt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 </a:t>
                      </a:r>
                      <a:endParaRPr kumimoji="0" lang="ru-RU" altLang="ru-RU" sz="7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77D"/>
                    </a:solidFill>
                  </a:tcPr>
                </a:tc>
                <a:tc row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ИТИ НИЯУ МИФИ</a:t>
                      </a:r>
                      <a:endParaRPr kumimoji="0" lang="ru-RU" alt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03.01 «Теплоэнергетика и теплотехника» 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826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03.02 «Электроэнергетика и электротехника»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304">
                <a:tc rowSpan="4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ru-RU" alt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 </a:t>
                      </a:r>
                      <a:endParaRPr kumimoji="0" lang="ru-RU" altLang="ru-RU" sz="7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77D"/>
                    </a:solidFill>
                  </a:tcPr>
                </a:tc>
                <a:tc rowSpan="4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АТЭ НИЯУ МИФИ</a:t>
                      </a:r>
                      <a:endParaRPr kumimoji="0" lang="ru-RU" alt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.03.01 Ядерная энергетика и теплофизика 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3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.03.02 Ядерные физика и технологии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397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03.01 Приборостроение </a:t>
                      </a:r>
                      <a:endParaRPr kumimoji="0" lang="ru-RU" alt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289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.03.01 Материаловедение и технологии материалов 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0071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ru-RU" alt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 </a:t>
                      </a:r>
                      <a:endParaRPr kumimoji="0" lang="ru-RU" altLang="ru-RU" sz="7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77D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сковский государственный технический университет имени Н.Э. Баумана</a:t>
                      </a:r>
                      <a:endParaRPr kumimoji="0" lang="ru-RU" alt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0305 Ядерные реакторы и энергетические установки</a:t>
                      </a:r>
                      <a:endParaRPr kumimoji="0" lang="ru-RU" alt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  <a:endParaRPr kumimoji="0" lang="ru-RU" alt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октября 2016 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</a:tr>
              <a:tr h="169036">
                <a:tc row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ru-RU" alt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 </a:t>
                      </a:r>
                      <a:endParaRPr kumimoji="0" lang="ru-RU" altLang="ru-RU" sz="7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77D"/>
                    </a:solidFill>
                  </a:tcPr>
                </a:tc>
                <a:tc row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циональный исследовательский университет "МЭИ"</a:t>
                      </a:r>
                      <a:endParaRPr kumimoji="0" lang="ru-RU" alt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.03.01 Ядерная энергетика и теплофизика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июня 2016 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1083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.04.01 Ядерная энергетика и теплофизика</a:t>
                      </a:r>
                      <a:endParaRPr kumimoji="0" lang="ru-RU" alt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июня 2016 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</a:tr>
              <a:tr h="13563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02.02 Электроэнергетика и электротехника</a:t>
                      </a:r>
                      <a:endParaRPr kumimoji="0" lang="ru-RU" alt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декабря 2016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197820">
                <a:tc row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ru-RU" alt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 </a:t>
                      </a:r>
                      <a:endParaRPr kumimoji="0" lang="ru-RU" altLang="ru-RU" sz="7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77D"/>
                    </a:solidFill>
                  </a:tcPr>
                </a:tc>
                <a:tc row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вановский государственный энергетический университет им. В.И. Ленина</a:t>
                      </a:r>
                      <a:endParaRPr kumimoji="0" lang="ru-RU" alt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02.01 Теплоэнергетика и теплотехника</a:t>
                      </a:r>
                      <a:endParaRPr kumimoji="0" lang="ru-RU" alt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-10 октября 2016 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</a:tr>
              <a:tr h="19782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02.02 Электроэнергетика и электротехника</a:t>
                      </a:r>
                      <a:endParaRPr kumimoji="0" lang="ru-RU" alt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-10 октября 2016 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2079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.05.02 Атомные станции: проектирование, эксплуатация и инжиниринг </a:t>
                      </a:r>
                      <a:endParaRPr kumimoji="0" lang="ru-RU" alt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 – 30 октября 2016 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</a:tr>
              <a:tr h="240901">
                <a:tc row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ru-RU" altLang="ru-RU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 </a:t>
                      </a:r>
                      <a:endParaRPr kumimoji="0" lang="ru-RU" altLang="ru-RU" sz="7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77D"/>
                    </a:solidFill>
                  </a:tcPr>
                </a:tc>
                <a:tc row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жегородский государственный технический университет </a:t>
                      </a:r>
                      <a:br>
                        <a:rPr kumimoji="0" lang="ru-RU" alt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ru-RU" alt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м. Р.Е. Алексеева</a:t>
                      </a:r>
                      <a:endParaRPr kumimoji="0" lang="ru-RU" alt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.05.01 Ядерные реакторы и материалы</a:t>
                      </a:r>
                      <a:endParaRPr kumimoji="0" lang="ru-RU" alt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ноября 2016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15981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.03.01 Ядерная энергетика и теплофизика</a:t>
                      </a:r>
                      <a:endParaRPr kumimoji="0" lang="ru-RU" alt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 ноября 2016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</a:tr>
              <a:tr h="50216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r>
                        <a:rPr kumimoji="0" lang="ru-RU" alt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 </a:t>
                      </a:r>
                      <a:endParaRPr kumimoji="0" lang="ru-RU" altLang="ru-RU" sz="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77D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ГБОУ ВПО</a:t>
                      </a:r>
                      <a:b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жегородский государственный университет </a:t>
                      </a:r>
                      <a:b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м. </a:t>
                      </a:r>
                      <a:r>
                        <a:rPr kumimoji="0" lang="ru-RU" altLang="ru-RU" sz="7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.И.Лобачевского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3.04.03 Радиофизика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ктябрь 2016</a:t>
                      </a:r>
                      <a:endParaRPr kumimoji="0" lang="ru-RU" alt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2271" marR="2227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</a:tbl>
          </a:graphicData>
        </a:graphic>
      </p:graphicFrame>
      <p:sp>
        <p:nvSpPr>
          <p:cNvPr id="256214" name="Содержимое 2"/>
          <p:cNvSpPr>
            <a:spLocks/>
          </p:cNvSpPr>
          <p:nvPr/>
        </p:nvSpPr>
        <p:spPr bwMode="auto">
          <a:xfrm>
            <a:off x="35496" y="980728"/>
            <a:ext cx="4557514" cy="392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lnSpc>
                <a:spcPct val="90000"/>
              </a:lnSpc>
              <a:buFont typeface="Calibri" pitchFamily="34" charset="0"/>
              <a:buNone/>
            </a:pPr>
            <a:r>
              <a:rPr lang="ru-RU" altLang="ru-RU" sz="1100" b="1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а квалификаций студентов университетов, входящих в Ассоциацию опорных вузов ГК «</a:t>
            </a:r>
            <a:r>
              <a:rPr lang="ru-RU" altLang="ru-RU" sz="1100" b="1" dirty="0" err="1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атом</a:t>
            </a:r>
            <a:r>
              <a:rPr lang="ru-RU" altLang="ru-RU" sz="1100" b="1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, в 2016 году</a:t>
            </a:r>
          </a:p>
        </p:txBody>
      </p:sp>
      <p:sp>
        <p:nvSpPr>
          <p:cNvPr id="256215" name="Содержимое 2"/>
          <p:cNvSpPr>
            <a:spLocks/>
          </p:cNvSpPr>
          <p:nvPr/>
        </p:nvSpPr>
        <p:spPr bwMode="auto">
          <a:xfrm>
            <a:off x="5201418" y="1412776"/>
            <a:ext cx="3313112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lnSpc>
                <a:spcPct val="90000"/>
              </a:lnSpc>
              <a:buFont typeface="Calibri" pitchFamily="34" charset="0"/>
              <a:buNone/>
            </a:pPr>
            <a:r>
              <a:rPr lang="ru-RU" altLang="ru-RU" sz="1100" b="1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ы оценки квалификаций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025" name="Содержимое 2"/>
          <p:cNvSpPr>
            <a:spLocks noGrp="1"/>
          </p:cNvSpPr>
          <p:nvPr>
            <p:ph idx="4294967295"/>
          </p:nvPr>
        </p:nvSpPr>
        <p:spPr>
          <a:xfrm>
            <a:off x="525140" y="4941168"/>
            <a:ext cx="8295332" cy="1435026"/>
          </a:xfrm>
        </p:spPr>
        <p:txBody>
          <a:bodyPr/>
          <a:lstStyle/>
          <a:p>
            <a:pPr algn="just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ru-RU" altLang="ru-RU" sz="1400" dirty="0" smtClean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ожение о порядке проведения профессионально-общественной аккредитации образовательных программ в сфере атомной энергии (ПОА).</a:t>
            </a:r>
          </a:p>
          <a:p>
            <a:pPr algn="just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ru-RU" altLang="ru-RU" sz="1400" dirty="0" smtClean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тели для проведения аккредитации экспертизы образовательной программы.</a:t>
            </a:r>
          </a:p>
          <a:p>
            <a:pPr algn="just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ru-RU" altLang="ru-RU" sz="1400" dirty="0" smtClean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ла обращения образовательных организаций, заинтересованных в получении ПОА.</a:t>
            </a:r>
          </a:p>
          <a:p>
            <a:pPr algn="just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ru-RU" altLang="ru-RU" sz="1400" dirty="0" smtClean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ика расчёта стоимости работ по проведению ПОА </a:t>
            </a:r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250825" y="306388"/>
            <a:ext cx="7885113" cy="674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alt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ессионально-общественная аккредитация образовательных программ</a:t>
            </a:r>
          </a:p>
        </p:txBody>
      </p:sp>
      <p:sp>
        <p:nvSpPr>
          <p:cNvPr id="257027" name="Номер слайда 1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C56CA13-2DFE-4552-A049-BC5970CDCB7D}" type="slidenum">
              <a:rPr lang="ru-RU" smtClean="0">
                <a:latin typeface="Arial" panose="020B060402020202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ru-RU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7030" name="Содержимое 2"/>
          <p:cNvSpPr>
            <a:spLocks/>
          </p:cNvSpPr>
          <p:nvPr/>
        </p:nvSpPr>
        <p:spPr bwMode="auto">
          <a:xfrm>
            <a:off x="266326" y="2636912"/>
            <a:ext cx="8554146" cy="719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>
              <a:spcBef>
                <a:spcPts val="0"/>
              </a:spcBef>
              <a:buFont typeface="Calibri" pitchFamily="34" charset="0"/>
              <a:buNone/>
            </a:pPr>
            <a:r>
              <a:rPr lang="ru-RU" altLang="ru-RU" sz="1200" b="1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шением Н</a:t>
            </a:r>
            <a:r>
              <a:rPr lang="ru-RU" altLang="ko-KR" sz="1200" b="1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К </a:t>
            </a:r>
            <a:r>
              <a:rPr lang="ru-RU" altLang="ru-RU" sz="1200" b="1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28.05.09.2016 Общественному отраслевому объединению работодателей «Союз работодателей атомной промышленности</a:t>
            </a:r>
            <a:r>
              <a:rPr lang="ru-RU" altLang="ru-RU" sz="1200" b="1" dirty="0" smtClean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altLang="ru-RU" sz="1200" b="1" dirty="0" smtClean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b="1" dirty="0" smtClean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етики </a:t>
            </a:r>
            <a:r>
              <a:rPr lang="ru-RU" altLang="ru-RU" sz="1200" b="1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науки России (</a:t>
            </a:r>
            <a:r>
              <a:rPr lang="ru-RU" altLang="ru-RU" sz="1200" b="1" dirty="0" err="1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АПиН</a:t>
            </a:r>
            <a:r>
              <a:rPr lang="ru-RU" altLang="ru-RU" sz="1200" b="1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оссии) включён в Национальный реестр профессионально-общественной аккредитации</a:t>
            </a:r>
          </a:p>
        </p:txBody>
      </p:sp>
      <p:sp>
        <p:nvSpPr>
          <p:cNvPr id="257031" name="TextBox 1"/>
          <p:cNvSpPr txBox="1">
            <a:spLocks noChangeArrowheads="1"/>
          </p:cNvSpPr>
          <p:nvPr/>
        </p:nvSpPr>
        <p:spPr bwMode="auto">
          <a:xfrm>
            <a:off x="251520" y="1059914"/>
            <a:ext cx="8554343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Bef>
                <a:spcPts val="0"/>
              </a:spcBef>
            </a:pPr>
            <a:r>
              <a:rPr lang="ru-RU" sz="1200" b="1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 образовательные программы, реализуемые в НИЯУ МИФИ</a:t>
            </a:r>
            <a:r>
              <a:rPr lang="ru-RU" sz="1200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интересах ГК «</a:t>
            </a:r>
            <a:r>
              <a:rPr lang="ru-RU" sz="1200" dirty="0" err="1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атом</a:t>
            </a:r>
            <a:r>
              <a:rPr lang="ru-RU" sz="1200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,  прошли ПОА (в 4 программах учитывались результаты сертификации) в агентстве по аккредитации программ инженерного образования (</a:t>
            </a:r>
            <a:r>
              <a:rPr lang="ru-RU" sz="1200" b="1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НИО)</a:t>
            </a:r>
            <a:r>
              <a:rPr lang="ru-RU" sz="1200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включены в </a:t>
            </a:r>
            <a:r>
              <a:rPr lang="ru-RU" sz="1200" b="1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NI INDEX</a:t>
            </a:r>
            <a:r>
              <a:rPr lang="ru-RU" sz="1200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- список инженерных программ и специальностей, которые соответствуют стандартам образования, официально признаны на национальном уровне, соответствуют европейскому уровню и признаются на территории </a:t>
            </a:r>
            <a:r>
              <a:rPr lang="ru-RU" sz="1200" b="1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.</a:t>
            </a:r>
          </a:p>
          <a:p>
            <a:pPr>
              <a:spcBef>
                <a:spcPts val="0"/>
              </a:spcBef>
            </a:pPr>
            <a:endParaRPr lang="ru-RU" sz="1200" b="1" dirty="0">
              <a:solidFill>
                <a:srgbClr val="1F47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0"/>
              </a:spcBef>
            </a:pPr>
            <a:r>
              <a:rPr lang="ru-RU" sz="1200" b="1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НИО</a:t>
            </a:r>
            <a:r>
              <a:rPr lang="ru-RU" sz="1200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представитель Европейской федерации национальных инженерных ассоциаций и Российский союз научных и инженерных общественных организаций (ФЕАНИ)</a:t>
            </a:r>
          </a:p>
        </p:txBody>
      </p:sp>
      <p:sp>
        <p:nvSpPr>
          <p:cNvPr id="257034" name="Содержимое 2"/>
          <p:cNvSpPr>
            <a:spLocks/>
          </p:cNvSpPr>
          <p:nvPr/>
        </p:nvSpPr>
        <p:spPr bwMode="auto">
          <a:xfrm>
            <a:off x="251520" y="4437112"/>
            <a:ext cx="8280920" cy="433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44500" indent="-444500" algn="ctr" eaLnBrk="0" hangingPunct="0">
              <a:spcBef>
                <a:spcPts val="0"/>
              </a:spcBef>
              <a:buFont typeface="Arial" charset="0"/>
              <a:buNone/>
            </a:pPr>
            <a:r>
              <a:rPr lang="ru-RU" altLang="ru-RU" sz="1600" b="1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анные и утверждённые документы для проведения профессионально-общественной аккредитации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251520" y="3304838"/>
            <a:ext cx="8552673" cy="1132274"/>
            <a:chOff x="324520" y="3356992"/>
            <a:chExt cx="8552673" cy="1132274"/>
          </a:xfrm>
        </p:grpSpPr>
        <p:pic>
          <p:nvPicPr>
            <p:cNvPr id="257028" name="Рисунок 2"/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324520" y="3484825"/>
              <a:ext cx="1727200" cy="860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57029" name="Содержимое 2"/>
            <p:cNvSpPr>
              <a:spLocks/>
            </p:cNvSpPr>
            <p:nvPr/>
          </p:nvSpPr>
          <p:spPr bwMode="auto">
            <a:xfrm>
              <a:off x="1979934" y="3481204"/>
              <a:ext cx="6840538" cy="10080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just">
                <a:spcBef>
                  <a:spcPts val="0"/>
                </a:spcBef>
                <a:buFont typeface="Calibri" pitchFamily="34" charset="0"/>
                <a:buNone/>
              </a:pPr>
              <a:r>
                <a:rPr lang="ru-RU" altLang="ru-RU" sz="1200" b="1" dirty="0">
                  <a:solidFill>
                    <a:srgbClr val="1F47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шением </a:t>
              </a:r>
              <a:r>
                <a:rPr lang="ru-RU" altLang="ko-KR" sz="1200" b="1" dirty="0">
                  <a:solidFill>
                    <a:srgbClr val="1F47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ПК АЭ</a:t>
              </a:r>
              <a:r>
                <a:rPr lang="ru-RU" altLang="ko-KR" sz="1200" dirty="0">
                  <a:solidFill>
                    <a:srgbClr val="1F47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ru-RU" sz="1200" b="1" dirty="0">
                  <a:solidFill>
                    <a:srgbClr val="1F47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 15.09.2016 Некоммерческому партнерству «Национальный ядерный инновационный консорциум» присвоен статус Уполномоченной организации для проведения (осуществления) профессионально-общественной аккредитации образовательных программ»</a:t>
              </a:r>
            </a:p>
          </p:txBody>
        </p:sp>
        <p:sp>
          <p:nvSpPr>
            <p:cNvPr id="2" name="Прямоугольник 1"/>
            <p:cNvSpPr/>
            <p:nvPr/>
          </p:nvSpPr>
          <p:spPr>
            <a:xfrm>
              <a:off x="336657" y="3356992"/>
              <a:ext cx="8540536" cy="1035279"/>
            </a:xfrm>
            <a:prstGeom prst="rect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0825" y="331788"/>
            <a:ext cx="7399338" cy="576262"/>
          </a:xfrm>
        </p:spPr>
        <p:txBody>
          <a:bodyPr lIns="0" tIns="0" rIns="0" bIns="0"/>
          <a:lstStyle/>
          <a:p>
            <a:pPr eaLnBrk="1" hangingPunct="1">
              <a:lnSpc>
                <a:spcPct val="80000"/>
              </a:lnSpc>
            </a:pPr>
            <a:r>
              <a:rPr lang="ru-RU" altLang="ru-RU" sz="2000" b="1" smtClean="0">
                <a:latin typeface="Arial" panose="020B0604020202020204" pitchFamily="34" charset="0"/>
                <a:cs typeface="Arial" panose="020B0604020202020204" pitchFamily="34" charset="0"/>
              </a:rPr>
              <a:t>Отраслевая система обеспечения качества образования</a:t>
            </a:r>
          </a:p>
        </p:txBody>
      </p:sp>
      <p:sp>
        <p:nvSpPr>
          <p:cNvPr id="3" name="Скругленный прямоугольник 2"/>
          <p:cNvSpPr>
            <a:spLocks noChangeArrowheads="1"/>
          </p:cNvSpPr>
          <p:nvPr/>
        </p:nvSpPr>
        <p:spPr bwMode="auto">
          <a:xfrm>
            <a:off x="35496" y="1062241"/>
            <a:ext cx="3492500" cy="863600"/>
          </a:xfrm>
          <a:prstGeom prst="roundRect">
            <a:avLst>
              <a:gd name="adj" fmla="val 16667"/>
            </a:avLst>
          </a:prstGeom>
          <a:solidFill>
            <a:schemeClr val="accent2">
              <a:lumMod val="75000"/>
            </a:schemeClr>
          </a:solidFill>
          <a:ln w="12700" algn="ctr">
            <a:noFill/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0" tIns="18000" rIns="0" bIns="18000" anchor="ctr"/>
          <a:lstStyle/>
          <a:p>
            <a:pPr algn="ctr">
              <a:defRPr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Отраслевые квалификационные рамки и профессиональные стандарты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323850" y="3213100"/>
            <a:ext cx="1608138" cy="1179513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 w="12700"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18000" tIns="18000" rIns="18000" bIns="18000" anchor="ctr"/>
          <a:lstStyle/>
          <a:p>
            <a:pPr algn="ctr">
              <a:defRPr/>
            </a:pPr>
            <a:r>
              <a:rPr lang="ru-RU" sz="12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а и корректировка образовательных программ</a:t>
            </a:r>
          </a:p>
        </p:txBody>
      </p:sp>
      <p:sp>
        <p:nvSpPr>
          <p:cNvPr id="25" name="Скругленный прямоугольник 24"/>
          <p:cNvSpPr>
            <a:spLocks noChangeArrowheads="1"/>
          </p:cNvSpPr>
          <p:nvPr/>
        </p:nvSpPr>
        <p:spPr bwMode="auto">
          <a:xfrm>
            <a:off x="7451725" y="5229225"/>
            <a:ext cx="1547813" cy="1152525"/>
          </a:xfrm>
          <a:prstGeom prst="roundRect">
            <a:avLst>
              <a:gd name="adj" fmla="val 16667"/>
            </a:avLst>
          </a:prstGeom>
          <a:solidFill>
            <a:schemeClr val="accent2">
              <a:lumMod val="75000"/>
            </a:schemeClr>
          </a:solidFill>
          <a:ln w="38100" algn="ctr">
            <a:noFill/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18000" tIns="18000" rIns="18000" bIns="18000" anchor="ctr"/>
          <a:lstStyle/>
          <a:p>
            <a:pPr algn="ctr">
              <a:defRPr/>
            </a:pPr>
            <a:r>
              <a:rPr lang="ru-RU" sz="1400" b="1">
                <a:latin typeface="Arial" panose="020B0604020202020204" pitchFamily="34" charset="0"/>
                <a:cs typeface="Arial" panose="020B0604020202020204" pitchFamily="34" charset="0"/>
              </a:rPr>
              <a:t>Оценка качества подготовки выпускника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395288" y="4941888"/>
            <a:ext cx="1595437" cy="118110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18000" tIns="18000" rIns="18000" bIns="18000" anchor="ctr"/>
          <a:lstStyle/>
          <a:p>
            <a:pPr algn="ctr">
              <a:defRPr/>
            </a:pPr>
            <a:r>
              <a:rPr lang="ru-RU" sz="12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кредитация образовательных программ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7451725" y="1125538"/>
            <a:ext cx="1512888" cy="892175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 w="12700"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18000" tIns="18000" rIns="18000" bIns="18000" anchor="ctr"/>
          <a:lstStyle/>
          <a:p>
            <a:pPr algn="ctr">
              <a:defRPr/>
            </a:pPr>
            <a:r>
              <a:rPr lang="ru-RU" sz="12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тификация выпускников и специалистов</a:t>
            </a:r>
          </a:p>
        </p:txBody>
      </p:sp>
      <p:sp>
        <p:nvSpPr>
          <p:cNvPr id="31" name="Скругленный прямоугольник 30"/>
          <p:cNvSpPr>
            <a:spLocks noChangeArrowheads="1"/>
          </p:cNvSpPr>
          <p:nvPr/>
        </p:nvSpPr>
        <p:spPr bwMode="auto">
          <a:xfrm>
            <a:off x="3924300" y="1125538"/>
            <a:ext cx="2808288" cy="449262"/>
          </a:xfrm>
          <a:prstGeom prst="roundRect">
            <a:avLst>
              <a:gd name="adj" fmla="val 16667"/>
            </a:avLst>
          </a:prstGeom>
          <a:solidFill>
            <a:schemeClr val="accent1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18000" tIns="18000" rIns="18000" bIns="18000" anchor="ctr"/>
          <a:lstStyle/>
          <a:p>
            <a:pPr algn="ctr">
              <a:defRPr/>
            </a:pPr>
            <a:endParaRPr lang="ru-RU" sz="14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Скругленный прямоугольник 31"/>
          <p:cNvSpPr>
            <a:spLocks noChangeArrowheads="1"/>
          </p:cNvSpPr>
          <p:nvPr/>
        </p:nvSpPr>
        <p:spPr bwMode="auto">
          <a:xfrm>
            <a:off x="287982" y="2276475"/>
            <a:ext cx="3563938" cy="458788"/>
          </a:xfrm>
          <a:prstGeom prst="roundRect">
            <a:avLst>
              <a:gd name="adj" fmla="val 16667"/>
            </a:avLst>
          </a:prstGeom>
          <a:solidFill>
            <a:schemeClr val="accent1">
              <a:lumMod val="75000"/>
            </a:schemeClr>
          </a:solidFill>
          <a:ln w="12700" algn="ctr">
            <a:noFill/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18000" tIns="18000" rIns="18000" bIns="18000" anchor="ctr"/>
          <a:lstStyle/>
          <a:p>
            <a:pPr algn="ctr">
              <a:defRPr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Национальный ядерный инновационный консорциум</a:t>
            </a:r>
          </a:p>
        </p:txBody>
      </p:sp>
      <p:sp>
        <p:nvSpPr>
          <p:cNvPr id="258058" name="Номер слайда 1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B308E03-F1BB-44DA-83B6-9489ABC25EF7}" type="slidenum">
              <a:rPr lang="ru-RU" smtClean="0">
                <a:latin typeface="Arial" panose="020B0604020202020204" pitchFamily="34" charset="0"/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ru-RU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Скругленный прямоугольник 30"/>
          <p:cNvSpPr>
            <a:spLocks noChangeArrowheads="1"/>
          </p:cNvSpPr>
          <p:nvPr/>
        </p:nvSpPr>
        <p:spPr bwMode="auto">
          <a:xfrm>
            <a:off x="4140200" y="1341438"/>
            <a:ext cx="2808288" cy="449262"/>
          </a:xfrm>
          <a:prstGeom prst="roundRect">
            <a:avLst>
              <a:gd name="adj" fmla="val 16667"/>
            </a:avLst>
          </a:prstGeom>
          <a:solidFill>
            <a:schemeClr val="accent1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18000" tIns="18000" rIns="18000" bIns="18000" anchor="ctr"/>
          <a:lstStyle/>
          <a:p>
            <a:pPr algn="ctr">
              <a:defRPr/>
            </a:pPr>
            <a:endParaRPr lang="ru-RU" sz="14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Скругленный прямоугольник 30"/>
          <p:cNvSpPr>
            <a:spLocks noChangeArrowheads="1"/>
          </p:cNvSpPr>
          <p:nvPr/>
        </p:nvSpPr>
        <p:spPr bwMode="auto">
          <a:xfrm>
            <a:off x="4356100" y="1557338"/>
            <a:ext cx="2808288" cy="449262"/>
          </a:xfrm>
          <a:prstGeom prst="roundRect">
            <a:avLst>
              <a:gd name="adj" fmla="val 16667"/>
            </a:avLst>
          </a:prstGeom>
          <a:solidFill>
            <a:schemeClr val="accent1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18000" tIns="18000" rIns="18000" bIns="18000" anchor="ctr"/>
          <a:lstStyle/>
          <a:p>
            <a:pPr algn="ctr">
              <a:defRPr/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Отраслевые центры оценки квалификаций</a:t>
            </a:r>
          </a:p>
        </p:txBody>
      </p:sp>
      <p:sp>
        <p:nvSpPr>
          <p:cNvPr id="258061" name="AutoShape 44"/>
          <p:cNvSpPr>
            <a:spLocks noChangeArrowheads="1"/>
          </p:cNvSpPr>
          <p:nvPr/>
        </p:nvSpPr>
        <p:spPr bwMode="auto">
          <a:xfrm>
            <a:off x="5724525" y="2205038"/>
            <a:ext cx="2160588" cy="4318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ru-RU" sz="1100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я процедур оценки квалификаций</a:t>
            </a:r>
          </a:p>
        </p:txBody>
      </p:sp>
      <p:sp>
        <p:nvSpPr>
          <p:cNvPr id="258062" name="AutoShape 47"/>
          <p:cNvSpPr>
            <a:spLocks noChangeArrowheads="1"/>
          </p:cNvSpPr>
          <p:nvPr/>
        </p:nvSpPr>
        <p:spPr bwMode="auto">
          <a:xfrm>
            <a:off x="5724525" y="2781300"/>
            <a:ext cx="2160588" cy="4318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ru-RU" sz="1100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бор и подготовка экспертов</a:t>
            </a:r>
          </a:p>
        </p:txBody>
      </p:sp>
      <p:sp>
        <p:nvSpPr>
          <p:cNvPr id="258063" name="AutoShape 48"/>
          <p:cNvSpPr>
            <a:spLocks noChangeArrowheads="1"/>
          </p:cNvSpPr>
          <p:nvPr/>
        </p:nvSpPr>
        <p:spPr bwMode="auto">
          <a:xfrm>
            <a:off x="5724525" y="3429000"/>
            <a:ext cx="2160588" cy="4318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ru-RU" sz="110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дение базы экспертов</a:t>
            </a:r>
          </a:p>
        </p:txBody>
      </p:sp>
      <p:sp>
        <p:nvSpPr>
          <p:cNvPr id="258064" name="AutoShape 49"/>
          <p:cNvSpPr>
            <a:spLocks noChangeArrowheads="1"/>
          </p:cNvSpPr>
          <p:nvPr/>
        </p:nvSpPr>
        <p:spPr bwMode="auto">
          <a:xfrm>
            <a:off x="5724525" y="4005263"/>
            <a:ext cx="2160588" cy="4318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ru-RU" sz="1100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фонда оценочных средств</a:t>
            </a:r>
          </a:p>
        </p:txBody>
      </p:sp>
      <p:sp>
        <p:nvSpPr>
          <p:cNvPr id="258065" name="AutoShape 50"/>
          <p:cNvSpPr>
            <a:spLocks noChangeArrowheads="1"/>
          </p:cNvSpPr>
          <p:nvPr/>
        </p:nvSpPr>
        <p:spPr bwMode="auto">
          <a:xfrm>
            <a:off x="5795963" y="4652963"/>
            <a:ext cx="2160587" cy="4318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ru-RU" sz="1100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дача сертификатов</a:t>
            </a:r>
          </a:p>
        </p:txBody>
      </p:sp>
      <p:sp>
        <p:nvSpPr>
          <p:cNvPr id="258066" name="AutoShape 51"/>
          <p:cNvSpPr>
            <a:spLocks noChangeArrowheads="1"/>
          </p:cNvSpPr>
          <p:nvPr/>
        </p:nvSpPr>
        <p:spPr bwMode="auto">
          <a:xfrm>
            <a:off x="2555875" y="2852738"/>
            <a:ext cx="2664197" cy="57626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ru-RU" sz="1100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ставление рейтингов профильных вузов</a:t>
            </a:r>
          </a:p>
        </p:txBody>
      </p:sp>
      <p:sp>
        <p:nvSpPr>
          <p:cNvPr id="258067" name="AutoShape 52"/>
          <p:cNvSpPr>
            <a:spLocks noChangeArrowheads="1"/>
          </p:cNvSpPr>
          <p:nvPr/>
        </p:nvSpPr>
        <p:spPr bwMode="auto">
          <a:xfrm>
            <a:off x="2555875" y="3573463"/>
            <a:ext cx="2664197" cy="57626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ru-RU" sz="110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ординация научно-методического обеспечения образовательных программ</a:t>
            </a:r>
          </a:p>
        </p:txBody>
      </p:sp>
      <p:sp>
        <p:nvSpPr>
          <p:cNvPr id="258068" name="AutoShape 53"/>
          <p:cNvSpPr>
            <a:spLocks noChangeArrowheads="1"/>
          </p:cNvSpPr>
          <p:nvPr/>
        </p:nvSpPr>
        <p:spPr bwMode="auto">
          <a:xfrm>
            <a:off x="2555875" y="4221163"/>
            <a:ext cx="2664197" cy="57626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ru-RU" sz="110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ординация усилий по формированию отраслевого заказа на подготовку специалистов</a:t>
            </a:r>
          </a:p>
        </p:txBody>
      </p:sp>
      <p:sp>
        <p:nvSpPr>
          <p:cNvPr id="258069" name="AutoShape 54"/>
          <p:cNvSpPr>
            <a:spLocks noChangeArrowheads="1"/>
          </p:cNvSpPr>
          <p:nvPr/>
        </p:nvSpPr>
        <p:spPr bwMode="auto">
          <a:xfrm>
            <a:off x="2555875" y="4869160"/>
            <a:ext cx="2664197" cy="57626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ru-RU" sz="110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дение реестра аккредитованных программ</a:t>
            </a:r>
          </a:p>
        </p:txBody>
      </p:sp>
      <p:sp>
        <p:nvSpPr>
          <p:cNvPr id="258070" name="Line 55"/>
          <p:cNvSpPr>
            <a:spLocks noChangeShapeType="1"/>
          </p:cNvSpPr>
          <p:nvPr/>
        </p:nvSpPr>
        <p:spPr bwMode="auto">
          <a:xfrm>
            <a:off x="2195513" y="2781300"/>
            <a:ext cx="0" cy="2447925"/>
          </a:xfrm>
          <a:prstGeom prst="line">
            <a:avLst/>
          </a:prstGeom>
          <a:noFill/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8071" name="Line 56"/>
          <p:cNvSpPr>
            <a:spLocks noChangeShapeType="1"/>
          </p:cNvSpPr>
          <p:nvPr/>
        </p:nvSpPr>
        <p:spPr bwMode="auto">
          <a:xfrm>
            <a:off x="2195513" y="3141663"/>
            <a:ext cx="360362" cy="0"/>
          </a:xfrm>
          <a:prstGeom prst="line">
            <a:avLst/>
          </a:prstGeom>
          <a:noFill/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Стрелка вправо 28"/>
          <p:cNvSpPr>
            <a:spLocks noChangeArrowheads="1"/>
          </p:cNvSpPr>
          <p:nvPr/>
        </p:nvSpPr>
        <p:spPr bwMode="auto">
          <a:xfrm>
            <a:off x="7164388" y="1341438"/>
            <a:ext cx="215900" cy="215900"/>
          </a:xfrm>
          <a:prstGeom prst="rightArrow">
            <a:avLst>
              <a:gd name="adj1" fmla="val 50000"/>
              <a:gd name="adj2" fmla="val 17315"/>
            </a:avLst>
          </a:prstGeom>
          <a:solidFill>
            <a:schemeClr val="accent1">
              <a:lumMod val="75000"/>
            </a:schemeClr>
          </a:solidFill>
          <a:ln w="25400" algn="ctr">
            <a:solidFill>
              <a:schemeClr val="accent1">
                <a:lumMod val="75000"/>
              </a:schemeClr>
            </a:solidFill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8073" name="Line 61"/>
          <p:cNvSpPr>
            <a:spLocks noChangeShapeType="1"/>
          </p:cNvSpPr>
          <p:nvPr/>
        </p:nvSpPr>
        <p:spPr bwMode="auto">
          <a:xfrm>
            <a:off x="2195513" y="5229225"/>
            <a:ext cx="360362" cy="0"/>
          </a:xfrm>
          <a:prstGeom prst="line">
            <a:avLst/>
          </a:prstGeom>
          <a:noFill/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8074" name="Line 62"/>
          <p:cNvSpPr>
            <a:spLocks noChangeShapeType="1"/>
          </p:cNvSpPr>
          <p:nvPr/>
        </p:nvSpPr>
        <p:spPr bwMode="auto">
          <a:xfrm>
            <a:off x="2195513" y="3860800"/>
            <a:ext cx="360362" cy="0"/>
          </a:xfrm>
          <a:prstGeom prst="line">
            <a:avLst/>
          </a:prstGeom>
          <a:noFill/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8075" name="Line 63"/>
          <p:cNvSpPr>
            <a:spLocks noChangeShapeType="1"/>
          </p:cNvSpPr>
          <p:nvPr/>
        </p:nvSpPr>
        <p:spPr bwMode="auto">
          <a:xfrm>
            <a:off x="2195513" y="4508500"/>
            <a:ext cx="360362" cy="0"/>
          </a:xfrm>
          <a:prstGeom prst="line">
            <a:avLst/>
          </a:prstGeom>
          <a:noFill/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8076" name="Line 64"/>
          <p:cNvSpPr>
            <a:spLocks noChangeShapeType="1"/>
          </p:cNvSpPr>
          <p:nvPr/>
        </p:nvSpPr>
        <p:spPr bwMode="auto">
          <a:xfrm>
            <a:off x="5364163" y="2420938"/>
            <a:ext cx="360362" cy="0"/>
          </a:xfrm>
          <a:prstGeom prst="line">
            <a:avLst/>
          </a:prstGeom>
          <a:noFill/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8077" name="Line 65"/>
          <p:cNvSpPr>
            <a:spLocks noChangeShapeType="1"/>
          </p:cNvSpPr>
          <p:nvPr/>
        </p:nvSpPr>
        <p:spPr bwMode="auto">
          <a:xfrm>
            <a:off x="5364163" y="2997200"/>
            <a:ext cx="360362" cy="0"/>
          </a:xfrm>
          <a:prstGeom prst="line">
            <a:avLst/>
          </a:prstGeom>
          <a:noFill/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8078" name="Line 66"/>
          <p:cNvSpPr>
            <a:spLocks noChangeShapeType="1"/>
          </p:cNvSpPr>
          <p:nvPr/>
        </p:nvSpPr>
        <p:spPr bwMode="auto">
          <a:xfrm>
            <a:off x="5364163" y="3644900"/>
            <a:ext cx="360362" cy="0"/>
          </a:xfrm>
          <a:prstGeom prst="line">
            <a:avLst/>
          </a:prstGeom>
          <a:noFill/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8079" name="Line 67"/>
          <p:cNvSpPr>
            <a:spLocks noChangeShapeType="1"/>
          </p:cNvSpPr>
          <p:nvPr/>
        </p:nvSpPr>
        <p:spPr bwMode="auto">
          <a:xfrm>
            <a:off x="5364163" y="4221163"/>
            <a:ext cx="360362" cy="0"/>
          </a:xfrm>
          <a:prstGeom prst="line">
            <a:avLst/>
          </a:prstGeom>
          <a:noFill/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8080" name="Line 68"/>
          <p:cNvSpPr>
            <a:spLocks noChangeShapeType="1"/>
          </p:cNvSpPr>
          <p:nvPr/>
        </p:nvSpPr>
        <p:spPr bwMode="auto">
          <a:xfrm>
            <a:off x="5364163" y="4868863"/>
            <a:ext cx="431800" cy="0"/>
          </a:xfrm>
          <a:prstGeom prst="line">
            <a:avLst/>
          </a:prstGeom>
          <a:noFill/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8081" name="Line 69"/>
          <p:cNvSpPr>
            <a:spLocks noChangeShapeType="1"/>
          </p:cNvSpPr>
          <p:nvPr/>
        </p:nvSpPr>
        <p:spPr bwMode="auto">
          <a:xfrm>
            <a:off x="5364163" y="2060575"/>
            <a:ext cx="0" cy="2808288"/>
          </a:xfrm>
          <a:prstGeom prst="line">
            <a:avLst/>
          </a:prstGeom>
          <a:noFill/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Стрелка вправо 28"/>
          <p:cNvSpPr>
            <a:spLocks noChangeArrowheads="1"/>
          </p:cNvSpPr>
          <p:nvPr/>
        </p:nvSpPr>
        <p:spPr bwMode="auto">
          <a:xfrm rot="5400000">
            <a:off x="1008682" y="4545013"/>
            <a:ext cx="358778" cy="288925"/>
          </a:xfrm>
          <a:prstGeom prst="rightArrow">
            <a:avLst>
              <a:gd name="adj1" fmla="val 50000"/>
              <a:gd name="adj2" fmla="val 17315"/>
            </a:avLst>
          </a:prstGeom>
          <a:solidFill>
            <a:schemeClr val="accent1">
              <a:lumMod val="75000"/>
            </a:schemeClr>
          </a:solidFill>
          <a:ln w="25400" algn="ctr">
            <a:solidFill>
              <a:schemeClr val="accent1">
                <a:lumMod val="75000"/>
              </a:schemeClr>
            </a:solidFill>
            <a:miter lim="800000"/>
            <a:headEnd/>
            <a:tailEnd/>
          </a:ln>
        </p:spPr>
        <p:txBody>
          <a:bodyPr rot="10800000" vert="eaVert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Стрелка вправо 27"/>
          <p:cNvSpPr>
            <a:spLocks noChangeArrowheads="1"/>
          </p:cNvSpPr>
          <p:nvPr/>
        </p:nvSpPr>
        <p:spPr bwMode="auto">
          <a:xfrm>
            <a:off x="3563888" y="1341438"/>
            <a:ext cx="290514" cy="215900"/>
          </a:xfrm>
          <a:prstGeom prst="rightArrow">
            <a:avLst>
              <a:gd name="adj1" fmla="val 50000"/>
              <a:gd name="adj2" fmla="val 17403"/>
            </a:avLst>
          </a:prstGeom>
          <a:noFill/>
          <a:ln w="25400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Стрелка вправо 27"/>
          <p:cNvSpPr>
            <a:spLocks noChangeArrowheads="1"/>
          </p:cNvSpPr>
          <p:nvPr/>
        </p:nvSpPr>
        <p:spPr bwMode="auto">
          <a:xfrm rot="5400000">
            <a:off x="1583531" y="1953420"/>
            <a:ext cx="215902" cy="287337"/>
          </a:xfrm>
          <a:prstGeom prst="rightArrow">
            <a:avLst>
              <a:gd name="adj1" fmla="val 50000"/>
              <a:gd name="adj2" fmla="val 17403"/>
            </a:avLst>
          </a:prstGeom>
          <a:noFill/>
          <a:ln w="25400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rot="10800000" vert="eaVert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8085" name="AutoShape 82"/>
          <p:cNvSpPr>
            <a:spLocks noChangeArrowheads="1"/>
          </p:cNvSpPr>
          <p:nvPr/>
        </p:nvSpPr>
        <p:spPr bwMode="auto">
          <a:xfrm>
            <a:off x="6372200" y="5589240"/>
            <a:ext cx="863600" cy="431800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8086" name="AutoShape 83"/>
          <p:cNvSpPr>
            <a:spLocks noChangeArrowheads="1"/>
          </p:cNvSpPr>
          <p:nvPr/>
        </p:nvSpPr>
        <p:spPr bwMode="auto">
          <a:xfrm rot="5400000">
            <a:off x="7920038" y="4257526"/>
            <a:ext cx="1079499" cy="431800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Стрелка вправо 28"/>
          <p:cNvSpPr>
            <a:spLocks noChangeArrowheads="1"/>
          </p:cNvSpPr>
          <p:nvPr/>
        </p:nvSpPr>
        <p:spPr bwMode="auto">
          <a:xfrm rot="5400000">
            <a:off x="1008682" y="2830512"/>
            <a:ext cx="358778" cy="288925"/>
          </a:xfrm>
          <a:prstGeom prst="rightArrow">
            <a:avLst>
              <a:gd name="adj1" fmla="val 50000"/>
              <a:gd name="adj2" fmla="val 17315"/>
            </a:avLst>
          </a:prstGeom>
          <a:solidFill>
            <a:schemeClr val="accent1">
              <a:lumMod val="75000"/>
            </a:schemeClr>
          </a:solidFill>
          <a:ln w="25400" algn="ctr">
            <a:solidFill>
              <a:schemeClr val="accent1">
                <a:lumMod val="75000"/>
              </a:schemeClr>
            </a:solidFill>
            <a:miter lim="800000"/>
            <a:headEnd/>
            <a:tailEnd/>
          </a:ln>
        </p:spPr>
        <p:txBody>
          <a:bodyPr rot="10800000" vert="eaVert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0097" name="Picture 9" descr="main_1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88" y="333375"/>
            <a:ext cx="9137650" cy="4402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58114" name="Picture 2" descr="main_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588" y="333375"/>
            <a:ext cx="9140826" cy="4402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58115" name="Picture 3" descr="main_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1588" y="333375"/>
            <a:ext cx="9140826" cy="4402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58116" name="Picture 4" descr="main_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-1588" y="333375"/>
            <a:ext cx="9140826" cy="4402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58117" name="Picture 5" descr="main_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0" y="357188"/>
            <a:ext cx="9139238" cy="4402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0102" name="c--sw3tSuYwFh9d4syvsTVb" hidden="1"/>
          <p:cNvSpPr>
            <a:spLocks noChangeArrowheads="1"/>
          </p:cNvSpPr>
          <p:nvPr/>
        </p:nvSpPr>
        <p:spPr bwMode="auto">
          <a:xfrm>
            <a:off x="63500" y="6731000"/>
            <a:ext cx="63500" cy="63500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414142"/>
              </a:solidFill>
              <a:latin typeface="Arial" charset="0"/>
            </a:endParaRPr>
          </a:p>
        </p:txBody>
      </p:sp>
      <p:sp>
        <p:nvSpPr>
          <p:cNvPr id="12" name="Заголовок 13"/>
          <p:cNvSpPr>
            <a:spLocks noGrp="1"/>
          </p:cNvSpPr>
          <p:nvPr>
            <p:ph type="ctrTitle"/>
          </p:nvPr>
        </p:nvSpPr>
        <p:spPr>
          <a:xfrm>
            <a:off x="827088" y="5084763"/>
            <a:ext cx="7921625" cy="720725"/>
          </a:xfrm>
        </p:spPr>
        <p:txBody>
          <a:bodyPr/>
          <a:lstStyle/>
          <a:p>
            <a:pPr algn="ctr">
              <a:defRPr/>
            </a:pPr>
            <a:r>
              <a:rPr lang="ru-RU" sz="3200" dirty="0" smtClean="0">
                <a:latin typeface="+mn-lt"/>
                <a:ea typeface="+mn-ea"/>
                <a:cs typeface="+mn-cs"/>
              </a:rPr>
              <a:t>Благодарю за внимание</a:t>
            </a:r>
            <a:endParaRPr lang="ru-RU" sz="4400" dirty="0"/>
          </a:p>
        </p:txBody>
      </p:sp>
      <p:pic>
        <p:nvPicPr>
          <p:cNvPr id="260104" name="Рисунок 2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132138" y="188913"/>
            <a:ext cx="796925" cy="102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0105" name="Рисунок 8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572000" y="188913"/>
            <a:ext cx="944563" cy="938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10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15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20000"/>
                            </p:stCondLst>
                            <p:childTnLst>
                              <p:par>
                                <p:cTn id="21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 nodeType="afterGroup">
                            <p:stCondLst>
                              <p:cond delay="255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afterGroup">
                            <p:stCondLst>
                              <p:cond delay="305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 nodeType="afterGroup">
                            <p:stCondLst>
                              <p:cond delay="35500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 nodeType="afterGroup">
                            <p:stCondLst>
                              <p:cond delay="40500"/>
                            </p:stCondLst>
                            <p:childTnLst>
                              <p:par>
                                <p:cTn id="4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 nodeType="afterGroup">
                            <p:stCondLst>
                              <p:cond delay="45500"/>
                            </p:stCondLst>
                            <p:childTnLst>
                              <p:par>
                                <p:cTn id="47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 nodeType="afterGroup">
                            <p:stCondLst>
                              <p:cond delay="5100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 nodeType="afterGroup">
                            <p:stCondLst>
                              <p:cond delay="56000"/>
                            </p:stCondLst>
                            <p:childTnLst>
                              <p:par>
                                <p:cTn id="6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 nodeType="afterGroup">
                            <p:stCondLst>
                              <p:cond delay="61000"/>
                            </p:stCondLst>
                            <p:childTnLst>
                              <p:par>
                                <p:cTn id="6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 nodeType="afterGroup">
                            <p:stCondLst>
                              <p:cond delay="66000"/>
                            </p:stCondLst>
                            <p:childTnLst>
                              <p:par>
                                <p:cTn id="6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 nodeType="afterGroup">
                            <p:stCondLst>
                              <p:cond delay="71000"/>
                            </p:stCondLst>
                            <p:childTnLst>
                              <p:par>
                                <p:cTn id="7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 nodeType="afterGroup">
                            <p:stCondLst>
                              <p:cond delay="76500"/>
                            </p:stCondLst>
                            <p:childTnLst>
                              <p:par>
                                <p:cTn id="8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 nodeType="afterGroup">
                            <p:stCondLst>
                              <p:cond delay="81500"/>
                            </p:stCondLst>
                            <p:childTnLst>
                              <p:par>
                                <p:cTn id="8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 nodeType="afterGroup">
                            <p:stCondLst>
                              <p:cond delay="86500"/>
                            </p:stCondLst>
                            <p:childTnLst>
                              <p:par>
                                <p:cTn id="9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 nodeType="afterGroup">
                            <p:stCondLst>
                              <p:cond delay="91500"/>
                            </p:stCondLst>
                            <p:childTnLst>
                              <p:par>
                                <p:cTn id="9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 nodeType="afterGroup">
                            <p:stCondLst>
                              <p:cond delay="96500"/>
                            </p:stCondLst>
                            <p:childTnLst>
                              <p:par>
                                <p:cTn id="9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6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 nodeType="afterGroup">
                            <p:stCondLst>
                              <p:cond delay="102000"/>
                            </p:stCondLst>
                            <p:childTnLst>
                              <p:par>
                                <p:cTn id="10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 nodeType="afterGroup">
                            <p:stCondLst>
                              <p:cond delay="107000"/>
                            </p:stCondLst>
                            <p:childTnLst>
                              <p:par>
                                <p:cTn id="1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 nodeType="afterGroup">
                            <p:stCondLst>
                              <p:cond delay="112000"/>
                            </p:stCondLst>
                            <p:childTnLst>
                              <p:par>
                                <p:cTn id="1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 nodeType="afterGroup">
                            <p:stCondLst>
                              <p:cond delay="117000"/>
                            </p:stCondLst>
                            <p:childTnLst>
                              <p:par>
                                <p:cTn id="1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 nodeType="afterGroup">
                            <p:stCondLst>
                              <p:cond delay="122000"/>
                            </p:stCondLst>
                            <p:childTnLst>
                              <p:par>
                                <p:cTn id="125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2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4" fill="hold" nodeType="afterGroup">
                            <p:stCondLst>
                              <p:cond delay="127500"/>
                            </p:stCondLst>
                            <p:childTnLst>
                              <p:par>
                                <p:cTn id="1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8" fill="hold" nodeType="afterGroup">
                            <p:stCondLst>
                              <p:cond delay="132500"/>
                            </p:stCondLst>
                            <p:childTnLst>
                              <p:par>
                                <p:cTn id="1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2" fill="hold" nodeType="afterGroup">
                            <p:stCondLst>
                              <p:cond delay="137500"/>
                            </p:stCondLst>
                            <p:childTnLst>
                              <p:par>
                                <p:cTn id="14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6" fill="hold" nodeType="afterGroup">
                            <p:stCondLst>
                              <p:cond delay="142500"/>
                            </p:stCondLst>
                            <p:childTnLst>
                              <p:par>
                                <p:cTn id="1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0" fill="hold" nodeType="afterGroup">
                            <p:stCondLst>
                              <p:cond delay="147500"/>
                            </p:stCondLst>
                            <p:childTnLst>
                              <p:par>
                                <p:cTn id="151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8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0" fill="hold" nodeType="afterGroup">
                            <p:stCondLst>
                              <p:cond delay="153000"/>
                            </p:stCondLst>
                            <p:childTnLst>
                              <p:par>
                                <p:cTn id="16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 nodeType="afterGroup">
                            <p:stCondLst>
                              <p:cond delay="158000"/>
                            </p:stCondLst>
                            <p:childTnLst>
                              <p:par>
                                <p:cTn id="16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7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8" fill="hold" nodeType="afterGroup">
                            <p:stCondLst>
                              <p:cond delay="163000"/>
                            </p:stCondLst>
                            <p:childTnLst>
                              <p:par>
                                <p:cTn id="16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2" fill="hold" nodeType="afterGroup">
                            <p:stCondLst>
                              <p:cond delay="168000"/>
                            </p:stCondLst>
                            <p:childTnLst>
                              <p:par>
                                <p:cTn id="17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6" fill="hold" nodeType="afterGroup">
                            <p:stCondLst>
                              <p:cond delay="173000"/>
                            </p:stCondLst>
                            <p:childTnLst>
                              <p:par>
                                <p:cTn id="177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3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4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6" fill="hold" nodeType="afterGroup">
                            <p:stCondLst>
                              <p:cond delay="178500"/>
                            </p:stCondLst>
                            <p:childTnLst>
                              <p:par>
                                <p:cTn id="18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9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0" fill="hold" nodeType="afterGroup">
                            <p:stCondLst>
                              <p:cond delay="183500"/>
                            </p:stCondLst>
                            <p:childTnLst>
                              <p:par>
                                <p:cTn id="19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3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4" fill="hold" nodeType="afterGroup">
                            <p:stCondLst>
                              <p:cond delay="188500"/>
                            </p:stCondLst>
                            <p:childTnLst>
                              <p:par>
                                <p:cTn id="19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7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8" fill="hold" nodeType="afterGroup">
                            <p:stCondLst>
                              <p:cond delay="193500"/>
                            </p:stCondLst>
                            <p:childTnLst>
                              <p:par>
                                <p:cTn id="19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1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2" fill="hold" nodeType="afterGroup">
                            <p:stCondLst>
                              <p:cond delay="198500"/>
                            </p:stCondLst>
                            <p:childTnLst>
                              <p:par>
                                <p:cTn id="20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9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0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2" fill="hold" nodeType="afterGroup">
                            <p:stCondLst>
                              <p:cond delay="204000"/>
                            </p:stCondLst>
                            <p:childTnLst>
                              <p:par>
                                <p:cTn id="2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5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6" fill="hold" nodeType="afterGroup">
                            <p:stCondLst>
                              <p:cond delay="209000"/>
                            </p:stCondLst>
                            <p:childTnLst>
                              <p:par>
                                <p:cTn id="2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9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0" fill="hold" nodeType="afterGroup">
                            <p:stCondLst>
                              <p:cond delay="214000"/>
                            </p:stCondLst>
                            <p:childTnLst>
                              <p:par>
                                <p:cTn id="2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3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4" fill="hold" nodeType="afterGroup">
                            <p:stCondLst>
                              <p:cond delay="219000"/>
                            </p:stCondLst>
                            <p:childTnLst>
                              <p:par>
                                <p:cTn id="2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7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8" fill="hold" nodeType="afterGroup">
                            <p:stCondLst>
                              <p:cond delay="224000"/>
                            </p:stCondLst>
                            <p:childTnLst>
                              <p:par>
                                <p:cTn id="22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5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6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8" fill="hold" nodeType="afterGroup">
                            <p:stCondLst>
                              <p:cond delay="229500"/>
                            </p:stCondLst>
                            <p:childTnLst>
                              <p:par>
                                <p:cTn id="2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1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2" fill="hold" nodeType="afterGroup">
                            <p:stCondLst>
                              <p:cond delay="234500"/>
                            </p:stCondLst>
                            <p:childTnLst>
                              <p:par>
                                <p:cTn id="24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5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6" fill="hold" nodeType="afterGroup">
                            <p:stCondLst>
                              <p:cond delay="239500"/>
                            </p:stCondLst>
                            <p:childTnLst>
                              <p:par>
                                <p:cTn id="2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9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0" fill="hold" nodeType="afterGroup">
                            <p:stCondLst>
                              <p:cond delay="244500"/>
                            </p:stCondLst>
                            <p:childTnLst>
                              <p:par>
                                <p:cTn id="25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3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4" fill="hold" nodeType="afterGroup">
                            <p:stCondLst>
                              <p:cond delay="249500"/>
                            </p:stCondLst>
                            <p:childTnLst>
                              <p:par>
                                <p:cTn id="255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1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2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3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4" fill="hold" nodeType="afterGroup">
                            <p:stCondLst>
                              <p:cond delay="255000"/>
                            </p:stCondLst>
                            <p:childTnLst>
                              <p:par>
                                <p:cTn id="26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7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8" fill="hold" nodeType="afterGroup">
                            <p:stCondLst>
                              <p:cond delay="260000"/>
                            </p:stCondLst>
                            <p:childTnLst>
                              <p:par>
                                <p:cTn id="26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1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2" fill="hold" nodeType="afterGroup">
                            <p:stCondLst>
                              <p:cond delay="265000"/>
                            </p:stCondLst>
                            <p:childTnLst>
                              <p:par>
                                <p:cTn id="27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5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6" fill="hold" nodeType="afterGroup">
                            <p:stCondLst>
                              <p:cond delay="270000"/>
                            </p:stCondLst>
                            <p:childTnLst>
                              <p:par>
                                <p:cTn id="27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9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0" fill="hold" nodeType="afterGroup">
                            <p:stCondLst>
                              <p:cond delay="275000"/>
                            </p:stCondLst>
                            <p:childTnLst>
                              <p:par>
                                <p:cTn id="281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7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8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9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0" fill="hold" nodeType="afterGroup">
                            <p:stCondLst>
                              <p:cond delay="280500"/>
                            </p:stCondLst>
                            <p:childTnLst>
                              <p:par>
                                <p:cTn id="29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3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4" fill="hold" nodeType="afterGroup">
                            <p:stCondLst>
                              <p:cond delay="285500"/>
                            </p:stCondLst>
                            <p:childTnLst>
                              <p:par>
                                <p:cTn id="29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7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8" fill="hold" nodeType="afterGroup">
                            <p:stCondLst>
                              <p:cond delay="290500"/>
                            </p:stCondLst>
                            <p:childTnLst>
                              <p:par>
                                <p:cTn id="29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1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2" fill="hold" nodeType="afterGroup">
                            <p:stCondLst>
                              <p:cond delay="295500"/>
                            </p:stCondLst>
                            <p:childTnLst>
                              <p:par>
                                <p:cTn id="30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5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6" fill="hold" nodeType="afterGroup">
                            <p:stCondLst>
                              <p:cond delay="300500"/>
                            </p:stCondLst>
                            <p:childTnLst>
                              <p:par>
                                <p:cTn id="307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3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4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5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6" fill="hold" nodeType="afterGroup">
                            <p:stCondLst>
                              <p:cond delay="306000"/>
                            </p:stCondLst>
                            <p:childTnLst>
                              <p:par>
                                <p:cTn id="3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9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0" fill="hold" nodeType="afterGroup">
                            <p:stCondLst>
                              <p:cond delay="311000"/>
                            </p:stCondLst>
                            <p:childTnLst>
                              <p:par>
                                <p:cTn id="3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3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4" fill="hold" nodeType="afterGroup">
                            <p:stCondLst>
                              <p:cond delay="316000"/>
                            </p:stCondLst>
                            <p:childTnLst>
                              <p:par>
                                <p:cTn id="3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7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8" fill="hold" nodeType="afterGroup">
                            <p:stCondLst>
                              <p:cond delay="321000"/>
                            </p:stCondLst>
                            <p:childTnLst>
                              <p:par>
                                <p:cTn id="3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1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2" fill="hold" nodeType="afterGroup">
                            <p:stCondLst>
                              <p:cond delay="326000"/>
                            </p:stCondLst>
                            <p:childTnLst>
                              <p:par>
                                <p:cTn id="33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9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0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1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2" fill="hold" nodeType="afterGroup">
                            <p:stCondLst>
                              <p:cond delay="331500"/>
                            </p:stCondLst>
                            <p:childTnLst>
                              <p:par>
                                <p:cTn id="34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5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6" fill="hold" nodeType="afterGroup">
                            <p:stCondLst>
                              <p:cond delay="336500"/>
                            </p:stCondLst>
                            <p:childTnLst>
                              <p:par>
                                <p:cTn id="3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9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0" fill="hold" nodeType="afterGroup">
                            <p:stCondLst>
                              <p:cond delay="341500"/>
                            </p:stCondLst>
                            <p:childTnLst>
                              <p:par>
                                <p:cTn id="35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3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4" fill="hold" nodeType="afterGroup">
                            <p:stCondLst>
                              <p:cond delay="346500"/>
                            </p:stCondLst>
                            <p:childTnLst>
                              <p:par>
                                <p:cTn id="35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7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8" fill="hold" nodeType="afterGroup">
                            <p:stCondLst>
                              <p:cond delay="351500"/>
                            </p:stCondLst>
                            <p:childTnLst>
                              <p:par>
                                <p:cTn id="35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5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6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7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8" fill="hold" nodeType="afterGroup">
                            <p:stCondLst>
                              <p:cond delay="357000"/>
                            </p:stCondLst>
                            <p:childTnLst>
                              <p:par>
                                <p:cTn id="36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1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2" fill="hold" nodeType="afterGroup">
                            <p:stCondLst>
                              <p:cond delay="362000"/>
                            </p:stCondLst>
                            <p:childTnLst>
                              <p:par>
                                <p:cTn id="37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5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6" fill="hold" nodeType="afterGroup">
                            <p:stCondLst>
                              <p:cond delay="367000"/>
                            </p:stCondLst>
                            <p:childTnLst>
                              <p:par>
                                <p:cTn id="37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9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0" fill="hold" nodeType="afterGroup">
                            <p:stCondLst>
                              <p:cond delay="372000"/>
                            </p:stCondLst>
                            <p:childTnLst>
                              <p:par>
                                <p:cTn id="38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3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4" fill="hold" nodeType="afterGroup">
                            <p:stCondLst>
                              <p:cond delay="377000"/>
                            </p:stCondLst>
                            <p:childTnLst>
                              <p:par>
                                <p:cTn id="385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1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2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3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4" fill="hold" nodeType="afterGroup">
                            <p:stCondLst>
                              <p:cond delay="382500"/>
                            </p:stCondLst>
                            <p:childTnLst>
                              <p:par>
                                <p:cTn id="39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7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8" fill="hold" nodeType="afterGroup">
                            <p:stCondLst>
                              <p:cond delay="387500"/>
                            </p:stCondLst>
                            <p:childTnLst>
                              <p:par>
                                <p:cTn id="39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1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2" fill="hold" nodeType="afterGroup">
                            <p:stCondLst>
                              <p:cond delay="392500"/>
                            </p:stCondLst>
                            <p:childTnLst>
                              <p:par>
                                <p:cTn id="40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5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6" fill="hold" nodeType="afterGroup">
                            <p:stCondLst>
                              <p:cond delay="397500"/>
                            </p:stCondLst>
                            <p:childTnLst>
                              <p:par>
                                <p:cTn id="40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9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0" fill="hold" nodeType="afterGroup">
                            <p:stCondLst>
                              <p:cond delay="402500"/>
                            </p:stCondLst>
                            <p:childTnLst>
                              <p:par>
                                <p:cTn id="411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7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8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9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0" fill="hold" nodeType="afterGroup">
                            <p:stCondLst>
                              <p:cond delay="408000"/>
                            </p:stCondLst>
                            <p:childTnLst>
                              <p:par>
                                <p:cTn id="4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3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4" fill="hold" nodeType="afterGroup">
                            <p:stCondLst>
                              <p:cond delay="413000"/>
                            </p:stCondLst>
                            <p:childTnLst>
                              <p:par>
                                <p:cTn id="4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7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8" fill="hold" nodeType="afterGroup">
                            <p:stCondLst>
                              <p:cond delay="418000"/>
                            </p:stCondLst>
                            <p:childTnLst>
                              <p:par>
                                <p:cTn id="4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1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2" fill="hold" nodeType="afterGroup">
                            <p:stCondLst>
                              <p:cond delay="423000"/>
                            </p:stCondLst>
                            <p:childTnLst>
                              <p:par>
                                <p:cTn id="4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5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6" fill="hold" nodeType="afterGroup">
                            <p:stCondLst>
                              <p:cond delay="428000"/>
                            </p:stCondLst>
                            <p:childTnLst>
                              <p:par>
                                <p:cTn id="437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3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4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5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6" fill="hold" nodeType="afterGroup">
                            <p:stCondLst>
                              <p:cond delay="433500"/>
                            </p:stCondLst>
                            <p:childTnLst>
                              <p:par>
                                <p:cTn id="4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9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0" fill="hold" nodeType="afterGroup">
                            <p:stCondLst>
                              <p:cond delay="438500"/>
                            </p:stCondLst>
                            <p:childTnLst>
                              <p:par>
                                <p:cTn id="45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3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4" fill="hold" nodeType="afterGroup">
                            <p:stCondLst>
                              <p:cond delay="443500"/>
                            </p:stCondLst>
                            <p:childTnLst>
                              <p:par>
                                <p:cTn id="45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7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8" fill="hold" nodeType="afterGroup">
                            <p:stCondLst>
                              <p:cond delay="448500"/>
                            </p:stCondLst>
                            <p:childTnLst>
                              <p:par>
                                <p:cTn id="45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1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2" fill="hold" nodeType="afterGroup">
                            <p:stCondLst>
                              <p:cond delay="453500"/>
                            </p:stCondLst>
                            <p:childTnLst>
                              <p:par>
                                <p:cTn id="46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9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0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1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2" fill="hold" nodeType="afterGroup">
                            <p:stCondLst>
                              <p:cond delay="459000"/>
                            </p:stCondLst>
                            <p:childTnLst>
                              <p:par>
                                <p:cTn id="47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5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6" fill="hold" nodeType="afterGroup">
                            <p:stCondLst>
                              <p:cond delay="464000"/>
                            </p:stCondLst>
                            <p:childTnLst>
                              <p:par>
                                <p:cTn id="47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9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0" fill="hold" nodeType="afterGroup">
                            <p:stCondLst>
                              <p:cond delay="469000"/>
                            </p:stCondLst>
                            <p:childTnLst>
                              <p:par>
                                <p:cTn id="48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3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4" fill="hold" nodeType="afterGroup">
                            <p:stCondLst>
                              <p:cond delay="474000"/>
                            </p:stCondLst>
                            <p:childTnLst>
                              <p:par>
                                <p:cTn id="48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7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8" fill="hold" nodeType="afterGroup">
                            <p:stCondLst>
                              <p:cond delay="479000"/>
                            </p:stCondLst>
                            <p:childTnLst>
                              <p:par>
                                <p:cTn id="48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5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6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7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8" fill="hold" nodeType="afterGroup">
                            <p:stCondLst>
                              <p:cond delay="484500"/>
                            </p:stCondLst>
                            <p:childTnLst>
                              <p:par>
                                <p:cTn id="49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1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2" fill="hold" nodeType="afterGroup">
                            <p:stCondLst>
                              <p:cond delay="489500"/>
                            </p:stCondLst>
                            <p:childTnLst>
                              <p:par>
                                <p:cTn id="50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5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6" fill="hold" nodeType="afterGroup">
                            <p:stCondLst>
                              <p:cond delay="494500"/>
                            </p:stCondLst>
                            <p:childTnLst>
                              <p:par>
                                <p:cTn id="50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9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0" fill="hold" nodeType="afterGroup">
                            <p:stCondLst>
                              <p:cond delay="499500"/>
                            </p:stCondLst>
                            <p:childTnLst>
                              <p:par>
                                <p:cTn id="5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3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4" fill="hold" nodeType="afterGroup">
                            <p:stCondLst>
                              <p:cond delay="504500"/>
                            </p:stCondLst>
                            <p:childTnLst>
                              <p:par>
                                <p:cTn id="515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1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2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3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4" fill="hold" nodeType="afterGroup">
                            <p:stCondLst>
                              <p:cond delay="510000"/>
                            </p:stCondLst>
                            <p:childTnLst>
                              <p:par>
                                <p:cTn id="5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7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8" fill="hold" nodeType="afterGroup">
                            <p:stCondLst>
                              <p:cond delay="515000"/>
                            </p:stCondLst>
                            <p:childTnLst>
                              <p:par>
                                <p:cTn id="5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1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2" fill="hold" nodeType="afterGroup">
                            <p:stCondLst>
                              <p:cond delay="520000"/>
                            </p:stCondLst>
                            <p:childTnLst>
                              <p:par>
                                <p:cTn id="5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5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6" fill="hold" nodeType="afterGroup">
                            <p:stCondLst>
                              <p:cond delay="525000"/>
                            </p:stCondLst>
                            <p:childTnLst>
                              <p:par>
                                <p:cTn id="5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9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0" fill="hold" nodeType="afterGroup">
                            <p:stCondLst>
                              <p:cond delay="530000"/>
                            </p:stCondLst>
                            <p:childTnLst>
                              <p:par>
                                <p:cTn id="541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7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8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9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0" fill="hold" nodeType="afterGroup">
                            <p:stCondLst>
                              <p:cond delay="535500"/>
                            </p:stCondLst>
                            <p:childTnLst>
                              <p:par>
                                <p:cTn id="55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3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4" fill="hold" nodeType="afterGroup">
                            <p:stCondLst>
                              <p:cond delay="540500"/>
                            </p:stCondLst>
                            <p:childTnLst>
                              <p:par>
                                <p:cTn id="55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7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8" fill="hold" nodeType="afterGroup">
                            <p:stCondLst>
                              <p:cond delay="545500"/>
                            </p:stCondLst>
                            <p:childTnLst>
                              <p:par>
                                <p:cTn id="55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1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2" fill="hold" nodeType="afterGroup">
                            <p:stCondLst>
                              <p:cond delay="550500"/>
                            </p:stCondLst>
                            <p:childTnLst>
                              <p:par>
                                <p:cTn id="56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5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6" fill="hold" nodeType="afterGroup">
                            <p:stCondLst>
                              <p:cond delay="555500"/>
                            </p:stCondLst>
                            <p:childTnLst>
                              <p:par>
                                <p:cTn id="567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3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4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5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6" fill="hold" nodeType="afterGroup">
                            <p:stCondLst>
                              <p:cond delay="561000"/>
                            </p:stCondLst>
                            <p:childTnLst>
                              <p:par>
                                <p:cTn id="57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9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0" fill="hold" nodeType="afterGroup">
                            <p:stCondLst>
                              <p:cond delay="566000"/>
                            </p:stCondLst>
                            <p:childTnLst>
                              <p:par>
                                <p:cTn id="58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3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4" fill="hold" nodeType="afterGroup">
                            <p:stCondLst>
                              <p:cond delay="571000"/>
                            </p:stCondLst>
                            <p:childTnLst>
                              <p:par>
                                <p:cTn id="58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7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8" fill="hold" nodeType="afterGroup">
                            <p:stCondLst>
                              <p:cond delay="576000"/>
                            </p:stCondLst>
                            <p:childTnLst>
                              <p:par>
                                <p:cTn id="58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1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2" fill="hold" nodeType="afterGroup">
                            <p:stCondLst>
                              <p:cond delay="581000"/>
                            </p:stCondLst>
                            <p:childTnLst>
                              <p:par>
                                <p:cTn id="59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9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0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1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2" fill="hold" nodeType="afterGroup">
                            <p:stCondLst>
                              <p:cond delay="586500"/>
                            </p:stCondLst>
                            <p:childTnLst>
                              <p:par>
                                <p:cTn id="60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5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6" fill="hold" nodeType="afterGroup">
                            <p:stCondLst>
                              <p:cond delay="591500"/>
                            </p:stCondLst>
                            <p:childTnLst>
                              <p:par>
                                <p:cTn id="60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9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0" fill="hold" nodeType="afterGroup">
                            <p:stCondLst>
                              <p:cond delay="596500"/>
                            </p:stCondLst>
                            <p:childTnLst>
                              <p:par>
                                <p:cTn id="6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3" dur="2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4" fill="hold" nodeType="afterGroup">
                            <p:stCondLst>
                              <p:cond delay="598500"/>
                            </p:stCondLst>
                            <p:childTnLst>
                              <p:par>
                                <p:cTn id="6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7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8" fill="hold" nodeType="afterGroup">
                            <p:stCondLst>
                              <p:cond delay="603500"/>
                            </p:stCondLst>
                            <p:childTnLst>
                              <p:par>
                                <p:cTn id="61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5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6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7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8" fill="hold" nodeType="afterGroup">
                            <p:stCondLst>
                              <p:cond delay="609000"/>
                            </p:stCondLst>
                            <p:childTnLst>
                              <p:par>
                                <p:cTn id="6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1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2" fill="hold" nodeType="afterGroup">
                            <p:stCondLst>
                              <p:cond delay="614000"/>
                            </p:stCondLst>
                            <p:childTnLst>
                              <p:par>
                                <p:cTn id="6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5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6" fill="hold" nodeType="afterGroup">
                            <p:stCondLst>
                              <p:cond delay="619000"/>
                            </p:stCondLst>
                            <p:childTnLst>
                              <p:par>
                                <p:cTn id="6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9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0" fill="hold" nodeType="afterGroup">
                            <p:stCondLst>
                              <p:cond delay="624000"/>
                            </p:stCondLst>
                            <p:childTnLst>
                              <p:par>
                                <p:cTn id="6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3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4" fill="hold" nodeType="afterGroup">
                            <p:stCondLst>
                              <p:cond delay="629000"/>
                            </p:stCondLst>
                            <p:childTnLst>
                              <p:par>
                                <p:cTn id="645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1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2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3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4" fill="hold" nodeType="afterGroup">
                            <p:stCondLst>
                              <p:cond delay="634500"/>
                            </p:stCondLst>
                            <p:childTnLst>
                              <p:par>
                                <p:cTn id="65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7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8" fill="hold" nodeType="afterGroup">
                            <p:stCondLst>
                              <p:cond delay="639500"/>
                            </p:stCondLst>
                            <p:childTnLst>
                              <p:par>
                                <p:cTn id="65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1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2" fill="hold" nodeType="afterGroup">
                            <p:stCondLst>
                              <p:cond delay="644500"/>
                            </p:stCondLst>
                            <p:childTnLst>
                              <p:par>
                                <p:cTn id="66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5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6" fill="hold" nodeType="afterGroup">
                            <p:stCondLst>
                              <p:cond delay="649500"/>
                            </p:stCondLst>
                            <p:childTnLst>
                              <p:par>
                                <p:cTn id="66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9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0" fill="hold" nodeType="afterGroup">
                            <p:stCondLst>
                              <p:cond delay="654500"/>
                            </p:stCondLst>
                            <p:childTnLst>
                              <p:par>
                                <p:cTn id="671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7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78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9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0" fill="hold" nodeType="afterGroup">
                            <p:stCondLst>
                              <p:cond delay="660000"/>
                            </p:stCondLst>
                            <p:childTnLst>
                              <p:par>
                                <p:cTn id="68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3" dur="5000"/>
                                        <p:tgtEl>
                                          <p:spTgt spid="858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4" fill="hold" nodeType="afterGroup">
                            <p:stCondLst>
                              <p:cond delay="665000"/>
                            </p:stCondLst>
                            <p:childTnLst>
                              <p:par>
                                <p:cTn id="68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7" dur="5000"/>
                                        <p:tgtEl>
                                          <p:spTgt spid="858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8" fill="hold" nodeType="afterGroup">
                            <p:stCondLst>
                              <p:cond delay="670000"/>
                            </p:stCondLst>
                            <p:childTnLst>
                              <p:par>
                                <p:cTn id="68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1" dur="5000"/>
                                        <p:tgtEl>
                                          <p:spTgt spid="858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2" fill="hold" nodeType="afterGroup">
                            <p:stCondLst>
                              <p:cond delay="675000"/>
                            </p:stCondLst>
                            <p:childTnLst>
                              <p:par>
                                <p:cTn id="69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5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Rectangle 2"/>
          <p:cNvSpPr>
            <a:spLocks noGrp="1"/>
          </p:cNvSpPr>
          <p:nvPr>
            <p:ph type="title" idx="4294967295"/>
          </p:nvPr>
        </p:nvSpPr>
        <p:spPr>
          <a:xfrm>
            <a:off x="251916" y="332656"/>
            <a:ext cx="7704460" cy="6477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ru-RU" sz="2000" b="1" dirty="0" smtClean="0">
                <a:latin typeface="Arial" charset="0"/>
              </a:rPr>
              <a:t>Отраслевая система оценки квалификаций </a:t>
            </a:r>
            <a:br>
              <a:rPr lang="ru-RU" sz="2000" b="1" dirty="0" smtClean="0">
                <a:latin typeface="Arial" charset="0"/>
              </a:rPr>
            </a:br>
            <a:r>
              <a:rPr lang="ru-RU" sz="2000" b="1" dirty="0" smtClean="0">
                <a:latin typeface="Arial" charset="0"/>
              </a:rPr>
              <a:t>в сфере атомной энергии</a:t>
            </a:r>
          </a:p>
        </p:txBody>
      </p:sp>
      <p:sp>
        <p:nvSpPr>
          <p:cNvPr id="45058" name="Rectangle 3"/>
          <p:cNvSpPr>
            <a:spLocks/>
          </p:cNvSpPr>
          <p:nvPr/>
        </p:nvSpPr>
        <p:spPr bwMode="auto">
          <a:xfrm>
            <a:off x="250825" y="1125538"/>
            <a:ext cx="4211638" cy="201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82563" indent="-182563"/>
            <a:endParaRPr lang="en-US" sz="1000" b="1">
              <a:solidFill>
                <a:srgbClr val="1F477D"/>
              </a:solidFill>
              <a:latin typeface="Arial" charset="0"/>
            </a:endParaRPr>
          </a:p>
        </p:txBody>
      </p:sp>
      <p:sp>
        <p:nvSpPr>
          <p:cNvPr id="45059" name="Rectangle 3"/>
          <p:cNvSpPr>
            <a:spLocks/>
          </p:cNvSpPr>
          <p:nvPr/>
        </p:nvSpPr>
        <p:spPr bwMode="auto">
          <a:xfrm>
            <a:off x="3779911" y="1892892"/>
            <a:ext cx="5256139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1100" b="1" dirty="0">
                <a:solidFill>
                  <a:srgbClr val="1F477D"/>
                </a:solidFill>
                <a:latin typeface="Arial" charset="0"/>
              </a:rPr>
              <a:t>Образовательные стандарты по </a:t>
            </a:r>
            <a:r>
              <a:rPr lang="ru-RU" sz="1100" b="1" dirty="0" smtClean="0">
                <a:solidFill>
                  <a:srgbClr val="1F477D"/>
                </a:solidFill>
                <a:latin typeface="Arial" charset="0"/>
              </a:rPr>
              <a:t>ключевым </a:t>
            </a:r>
            <a:r>
              <a:rPr lang="ru-RU" sz="1100" b="1" dirty="0">
                <a:solidFill>
                  <a:srgbClr val="1F477D"/>
                </a:solidFill>
                <a:latin typeface="Arial" charset="0"/>
              </a:rPr>
              <a:t>специальностям / направлениям подготовки в интересах  ГК «</a:t>
            </a:r>
            <a:r>
              <a:rPr lang="ru-RU" sz="1100" b="1" dirty="0" err="1">
                <a:solidFill>
                  <a:srgbClr val="1F477D"/>
                </a:solidFill>
                <a:latin typeface="Arial" charset="0"/>
              </a:rPr>
              <a:t>Росатом</a:t>
            </a:r>
            <a:r>
              <a:rPr lang="ru-RU" sz="1100" b="1" dirty="0">
                <a:solidFill>
                  <a:srgbClr val="1F477D"/>
                </a:solidFill>
                <a:latin typeface="Arial" charset="0"/>
              </a:rPr>
              <a:t>»</a:t>
            </a:r>
          </a:p>
          <a:p>
            <a:r>
              <a:rPr lang="ru-RU" sz="1100" b="1" dirty="0">
                <a:solidFill>
                  <a:srgbClr val="FF0000"/>
                </a:solidFill>
                <a:latin typeface="Arial" charset="0"/>
              </a:rPr>
              <a:t>НЯИК</a:t>
            </a:r>
            <a:endParaRPr lang="en-US" sz="1100" b="1" dirty="0">
              <a:solidFill>
                <a:srgbClr val="FF0000"/>
              </a:solidFill>
              <a:latin typeface="Arial" charset="0"/>
            </a:endParaRPr>
          </a:p>
        </p:txBody>
      </p:sp>
      <p:grpSp>
        <p:nvGrpSpPr>
          <p:cNvPr id="45060" name="Diagram 6"/>
          <p:cNvGrpSpPr>
            <a:grpSpLocks/>
          </p:cNvGrpSpPr>
          <p:nvPr/>
        </p:nvGrpSpPr>
        <p:grpSpPr bwMode="auto">
          <a:xfrm>
            <a:off x="71224" y="1340768"/>
            <a:ext cx="3852704" cy="3969294"/>
            <a:chOff x="1833" y="1057"/>
            <a:chExt cx="2449" cy="2121"/>
          </a:xfrm>
        </p:grpSpPr>
        <p:sp>
          <p:nvSpPr>
            <p:cNvPr id="45070" name="_s276488"/>
            <p:cNvSpPr>
              <a:spLocks noChangeArrowheads="1"/>
            </p:cNvSpPr>
            <p:nvPr/>
          </p:nvSpPr>
          <p:spPr bwMode="auto">
            <a:xfrm flipV="1">
              <a:off x="1833" y="2754"/>
              <a:ext cx="2449" cy="424"/>
            </a:xfrm>
            <a:custGeom>
              <a:avLst/>
              <a:gdLst>
                <a:gd name="T0" fmla="*/ 2327 w 21600"/>
                <a:gd name="T1" fmla="*/ 212 h 21600"/>
                <a:gd name="T2" fmla="*/ 1225 w 21600"/>
                <a:gd name="T3" fmla="*/ 424 h 21600"/>
                <a:gd name="T4" fmla="*/ 122 w 21600"/>
                <a:gd name="T5" fmla="*/ 212 h 21600"/>
                <a:gd name="T6" fmla="*/ 1225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884 w 21600"/>
                <a:gd name="T13" fmla="*/ 2904 h 21600"/>
                <a:gd name="T14" fmla="*/ 18716 w 21600"/>
                <a:gd name="T15" fmla="*/ 18696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160" y="21600"/>
                  </a:lnTo>
                  <a:lnTo>
                    <a:pt x="19440" y="21600"/>
                  </a:lnTo>
                  <a:lnTo>
                    <a:pt x="21600" y="0"/>
                  </a:lnTo>
                  <a:close/>
                </a:path>
              </a:pathLst>
            </a:custGeom>
            <a:gradFill rotWithShape="1">
              <a:gsLst>
                <a:gs pos="0">
                  <a:schemeClr val="hlink"/>
                </a:gs>
                <a:gs pos="100000">
                  <a:schemeClr val="bg1"/>
                </a:gs>
              </a:gsLst>
              <a:path path="rect">
                <a:fillToRect l="100000" b="100000"/>
              </a:path>
            </a:gra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hlink"/>
              </a:extrusionClr>
            </a:sp3d>
          </p:spPr>
          <p:txBody>
            <a:bodyPr rot="10800000" wrap="none" lIns="0" tIns="0" rIns="0" bIns="0" anchor="ctr">
              <a:flatTx/>
            </a:bodyPr>
            <a:lstStyle/>
            <a:p>
              <a:pPr algn="ctr"/>
              <a:r>
                <a:rPr lang="ru-RU" altLang="ru-RU" sz="1200" b="1" dirty="0">
                  <a:solidFill>
                    <a:srgbClr val="1F477D"/>
                  </a:solidFill>
                  <a:latin typeface="Arial" charset="0"/>
                </a:rPr>
                <a:t>Национальная рамка квалификаций</a:t>
              </a:r>
              <a:r>
                <a:rPr lang="ru-RU" altLang="ru-RU" sz="1100" dirty="0">
                  <a:solidFill>
                    <a:srgbClr val="1F477D"/>
                  </a:solidFill>
                  <a:latin typeface="Arial" charset="0"/>
                </a:rPr>
                <a:t> </a:t>
              </a:r>
            </a:p>
          </p:txBody>
        </p:sp>
        <p:sp>
          <p:nvSpPr>
            <p:cNvPr id="45071" name="_s276489"/>
            <p:cNvSpPr>
              <a:spLocks noChangeArrowheads="1"/>
            </p:cNvSpPr>
            <p:nvPr/>
          </p:nvSpPr>
          <p:spPr bwMode="auto">
            <a:xfrm flipV="1">
              <a:off x="2078" y="2330"/>
              <a:ext cx="1959" cy="424"/>
            </a:xfrm>
            <a:custGeom>
              <a:avLst/>
              <a:gdLst>
                <a:gd name="T0" fmla="*/ 1837 w 21600"/>
                <a:gd name="T1" fmla="*/ 212 h 21600"/>
                <a:gd name="T2" fmla="*/ 980 w 21600"/>
                <a:gd name="T3" fmla="*/ 424 h 21600"/>
                <a:gd name="T4" fmla="*/ 122 w 21600"/>
                <a:gd name="T5" fmla="*/ 212 h 21600"/>
                <a:gd name="T6" fmla="*/ 98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153 w 21600"/>
                <a:gd name="T13" fmla="*/ 3158 h 21600"/>
                <a:gd name="T14" fmla="*/ 18447 w 21600"/>
                <a:gd name="T15" fmla="*/ 18442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700" y="21600"/>
                  </a:lnTo>
                  <a:lnTo>
                    <a:pt x="18900" y="21600"/>
                  </a:lnTo>
                  <a:lnTo>
                    <a:pt x="21600" y="0"/>
                  </a:lnTo>
                  <a:close/>
                </a:path>
              </a:pathLst>
            </a:custGeom>
            <a:gradFill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path path="rect">
                <a:fillToRect l="100000" b="100000"/>
              </a:path>
            </a:gra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accent2"/>
              </a:extrusionClr>
            </a:sp3d>
          </p:spPr>
          <p:txBody>
            <a:bodyPr rot="10800000" wrap="none" lIns="0" tIns="0" rIns="0" bIns="0" anchor="ctr">
              <a:flatTx/>
            </a:bodyPr>
            <a:lstStyle/>
            <a:p>
              <a:pPr algn="ctr"/>
              <a:r>
                <a:rPr lang="ru-RU" altLang="ru-RU" b="1" dirty="0">
                  <a:solidFill>
                    <a:srgbClr val="FF0000"/>
                  </a:solidFill>
                  <a:latin typeface="Arial" charset="0"/>
                </a:rPr>
                <a:t>Отраслевая рамка квалификаций</a:t>
              </a:r>
              <a:r>
                <a:rPr lang="ru-RU" altLang="ru-RU" sz="1200" b="1" dirty="0">
                  <a:solidFill>
                    <a:schemeClr val="tx1"/>
                  </a:solidFill>
                  <a:latin typeface="Arial" charset="0"/>
                </a:rPr>
                <a:t> </a:t>
              </a:r>
            </a:p>
          </p:txBody>
        </p:sp>
        <p:sp>
          <p:nvSpPr>
            <p:cNvPr id="45072" name="_s276490"/>
            <p:cNvSpPr>
              <a:spLocks noChangeArrowheads="1"/>
            </p:cNvSpPr>
            <p:nvPr/>
          </p:nvSpPr>
          <p:spPr bwMode="auto">
            <a:xfrm flipV="1">
              <a:off x="2323" y="1905"/>
              <a:ext cx="1469" cy="425"/>
            </a:xfrm>
            <a:custGeom>
              <a:avLst/>
              <a:gdLst>
                <a:gd name="T0" fmla="*/ 1347 w 21600"/>
                <a:gd name="T1" fmla="*/ 213 h 21600"/>
                <a:gd name="T2" fmla="*/ 734 w 21600"/>
                <a:gd name="T3" fmla="*/ 425 h 21600"/>
                <a:gd name="T4" fmla="*/ 122 w 21600"/>
                <a:gd name="T5" fmla="*/ 213 h 21600"/>
                <a:gd name="T6" fmla="*/ 734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602 w 21600"/>
                <a:gd name="T13" fmla="*/ 3608 h 21600"/>
                <a:gd name="T14" fmla="*/ 17998 w 21600"/>
                <a:gd name="T15" fmla="*/ 17992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3600" y="21600"/>
                  </a:lnTo>
                  <a:lnTo>
                    <a:pt x="18000" y="21600"/>
                  </a:lnTo>
                  <a:lnTo>
                    <a:pt x="21600" y="0"/>
                  </a:lnTo>
                  <a:close/>
                </a:path>
              </a:pathLst>
            </a:custGeom>
            <a:gradFill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path path="rect">
                <a:fillToRect l="100000" b="100000"/>
              </a:path>
            </a:gra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accent1"/>
              </a:extrusionClr>
            </a:sp3d>
          </p:spPr>
          <p:txBody>
            <a:bodyPr rot="10800000" wrap="none" lIns="0" tIns="0" rIns="0" bIns="0" anchor="ctr">
              <a:flatTx/>
            </a:bodyPr>
            <a:lstStyle/>
            <a:p>
              <a:pPr algn="ctr"/>
              <a:r>
                <a:rPr lang="ru-RU" altLang="ru-RU" sz="1100" b="1" dirty="0">
                  <a:solidFill>
                    <a:srgbClr val="1F477D"/>
                  </a:solidFill>
                  <a:latin typeface="Arial" charset="0"/>
                </a:rPr>
                <a:t>Профессиональные</a:t>
              </a:r>
            </a:p>
            <a:p>
              <a:pPr algn="ctr"/>
              <a:r>
                <a:rPr lang="ru-RU" altLang="ru-RU" sz="1100" b="1" dirty="0">
                  <a:solidFill>
                    <a:srgbClr val="1F477D"/>
                  </a:solidFill>
                  <a:latin typeface="Arial" charset="0"/>
                </a:rPr>
                <a:t> стандарты</a:t>
              </a:r>
              <a:r>
                <a:rPr lang="ru-RU" altLang="ru-RU" sz="1100" dirty="0">
                  <a:solidFill>
                    <a:srgbClr val="1F477D"/>
                  </a:solidFill>
                  <a:latin typeface="Arial" charset="0"/>
                </a:rPr>
                <a:t> </a:t>
              </a:r>
            </a:p>
          </p:txBody>
        </p:sp>
        <p:sp>
          <p:nvSpPr>
            <p:cNvPr id="45073" name="_s276491"/>
            <p:cNvSpPr>
              <a:spLocks noChangeArrowheads="1"/>
            </p:cNvSpPr>
            <p:nvPr/>
          </p:nvSpPr>
          <p:spPr bwMode="auto">
            <a:xfrm flipV="1">
              <a:off x="2568" y="1481"/>
              <a:ext cx="979" cy="424"/>
            </a:xfrm>
            <a:custGeom>
              <a:avLst/>
              <a:gdLst>
                <a:gd name="T0" fmla="*/ 857 w 21600"/>
                <a:gd name="T1" fmla="*/ 212 h 21600"/>
                <a:gd name="T2" fmla="*/ 490 w 21600"/>
                <a:gd name="T3" fmla="*/ 424 h 21600"/>
                <a:gd name="T4" fmla="*/ 122 w 21600"/>
                <a:gd name="T5" fmla="*/ 212 h 21600"/>
                <a:gd name="T6" fmla="*/ 49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501 w 21600"/>
                <a:gd name="T13" fmla="*/ 4483 h 21600"/>
                <a:gd name="T14" fmla="*/ 17099 w 21600"/>
                <a:gd name="T15" fmla="*/ 17117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400" y="21600"/>
                  </a:lnTo>
                  <a:lnTo>
                    <a:pt x="16200" y="21600"/>
                  </a:lnTo>
                  <a:lnTo>
                    <a:pt x="21600" y="0"/>
                  </a:lnTo>
                  <a:close/>
                </a:path>
              </a:pathLst>
            </a:custGeom>
            <a:gradFill rotWithShape="1">
              <a:gsLst>
                <a:gs pos="0">
                  <a:schemeClr val="folHlink"/>
                </a:gs>
                <a:gs pos="100000">
                  <a:schemeClr val="bg1"/>
                </a:gs>
              </a:gsLst>
              <a:path path="rect">
                <a:fillToRect l="100000" b="100000"/>
              </a:path>
            </a:gra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folHlink"/>
              </a:extrusionClr>
            </a:sp3d>
          </p:spPr>
          <p:txBody>
            <a:bodyPr rot="10800000" wrap="none" lIns="0" tIns="0" rIns="0" bIns="0" anchor="ctr">
              <a:flatTx/>
            </a:bodyPr>
            <a:lstStyle/>
            <a:p>
              <a:pPr algn="ctr"/>
              <a:r>
                <a:rPr lang="ru-RU" altLang="ru-RU" sz="1100" b="1" dirty="0">
                  <a:solidFill>
                    <a:srgbClr val="1F477D"/>
                  </a:solidFill>
                  <a:latin typeface="Arial" charset="0"/>
                </a:rPr>
                <a:t>Образовательные</a:t>
              </a:r>
            </a:p>
            <a:p>
              <a:pPr algn="ctr"/>
              <a:r>
                <a:rPr lang="ru-RU" altLang="ru-RU" sz="1100" b="1" dirty="0">
                  <a:solidFill>
                    <a:srgbClr val="1F477D"/>
                  </a:solidFill>
                  <a:latin typeface="Arial" charset="0"/>
                </a:rPr>
                <a:t> стандарты</a:t>
              </a:r>
            </a:p>
          </p:txBody>
        </p:sp>
        <p:sp>
          <p:nvSpPr>
            <p:cNvPr id="45074" name="_s276492"/>
            <p:cNvSpPr>
              <a:spLocks noChangeArrowheads="1"/>
            </p:cNvSpPr>
            <p:nvPr/>
          </p:nvSpPr>
          <p:spPr bwMode="auto">
            <a:xfrm flipV="1">
              <a:off x="2813" y="1057"/>
              <a:ext cx="489" cy="424"/>
            </a:xfrm>
            <a:custGeom>
              <a:avLst/>
              <a:gdLst>
                <a:gd name="T0" fmla="*/ 367 w 21600"/>
                <a:gd name="T1" fmla="*/ 212 h 21600"/>
                <a:gd name="T2" fmla="*/ 245 w 21600"/>
                <a:gd name="T3" fmla="*/ 424 h 21600"/>
                <a:gd name="T4" fmla="*/ 122 w 21600"/>
                <a:gd name="T5" fmla="*/ 212 h 21600"/>
                <a:gd name="T6" fmla="*/ 245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7200 w 21600"/>
                <a:gd name="T13" fmla="*/ 7183 h 21600"/>
                <a:gd name="T14" fmla="*/ 14400 w 21600"/>
                <a:gd name="T15" fmla="*/ 14417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10800" y="21600"/>
                  </a:lnTo>
                  <a:lnTo>
                    <a:pt x="21600" y="0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path path="rect">
                <a:fillToRect l="100000" b="100000"/>
              </a:path>
            </a:gra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bg2"/>
              </a:extrusionClr>
            </a:sp3d>
          </p:spPr>
          <p:txBody>
            <a:bodyPr rot="10800000" wrap="none" lIns="0" tIns="0" rIns="0" bIns="0" anchor="ctr">
              <a:flatTx/>
            </a:bodyPr>
            <a:lstStyle/>
            <a:p>
              <a:pPr algn="ctr"/>
              <a:r>
                <a:rPr lang="ru-RU" altLang="ru-RU" sz="1100" b="1" dirty="0">
                  <a:solidFill>
                    <a:srgbClr val="1F477D"/>
                  </a:solidFill>
                  <a:latin typeface="Arial" charset="0"/>
                </a:rPr>
                <a:t>Независимая</a:t>
              </a:r>
            </a:p>
            <a:p>
              <a:pPr algn="ctr"/>
              <a:r>
                <a:rPr lang="ru-RU" altLang="ru-RU" sz="1100" b="1" dirty="0">
                  <a:solidFill>
                    <a:srgbClr val="1F477D"/>
                  </a:solidFill>
                  <a:latin typeface="Arial" charset="0"/>
                </a:rPr>
                <a:t> оценка</a:t>
              </a:r>
            </a:p>
            <a:p>
              <a:pPr algn="ctr"/>
              <a:r>
                <a:rPr lang="ru-RU" altLang="ru-RU" sz="1100" b="1" dirty="0">
                  <a:solidFill>
                    <a:srgbClr val="1F477D"/>
                  </a:solidFill>
                  <a:latin typeface="Arial" charset="0"/>
                </a:rPr>
                <a:t> квалификаций</a:t>
              </a:r>
            </a:p>
          </p:txBody>
        </p:sp>
      </p:grpSp>
      <p:sp>
        <p:nvSpPr>
          <p:cNvPr id="45061" name="Rectangle 3"/>
          <p:cNvSpPr>
            <a:spLocks/>
          </p:cNvSpPr>
          <p:nvPr/>
        </p:nvSpPr>
        <p:spPr bwMode="auto">
          <a:xfrm>
            <a:off x="3563887" y="1268760"/>
            <a:ext cx="442174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1100" b="1" dirty="0">
                <a:solidFill>
                  <a:srgbClr val="1F477D"/>
                </a:solidFill>
                <a:latin typeface="Arial" charset="0"/>
              </a:rPr>
              <a:t>Оценка квалификаций и выдача сертификатов</a:t>
            </a:r>
          </a:p>
          <a:p>
            <a:r>
              <a:rPr lang="ru-RU" sz="1100" b="1" dirty="0">
                <a:solidFill>
                  <a:srgbClr val="FF0000"/>
                </a:solidFill>
                <a:latin typeface="Arial" charset="0"/>
              </a:rPr>
              <a:t>Отраслевые центры оценки квалификаций (ЦОК)</a:t>
            </a:r>
            <a:endParaRPr lang="en-US" sz="1100" b="1" dirty="0">
              <a:solidFill>
                <a:srgbClr val="FF0000"/>
              </a:solidFill>
              <a:latin typeface="Arial" charset="0"/>
            </a:endParaRPr>
          </a:p>
        </p:txBody>
      </p:sp>
      <p:sp>
        <p:nvSpPr>
          <p:cNvPr id="45062" name="Rectangle 3"/>
          <p:cNvSpPr>
            <a:spLocks/>
          </p:cNvSpPr>
          <p:nvPr/>
        </p:nvSpPr>
        <p:spPr bwMode="auto">
          <a:xfrm>
            <a:off x="4105225" y="2463712"/>
            <a:ext cx="4712360" cy="5624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1100" b="1" dirty="0">
                <a:solidFill>
                  <a:srgbClr val="1F477D"/>
                </a:solidFill>
                <a:latin typeface="Arial" charset="0"/>
              </a:rPr>
              <a:t>Разработка профессиональных стандартов в интересах атомной отрасли</a:t>
            </a:r>
          </a:p>
          <a:p>
            <a:r>
              <a:rPr lang="ru-RU" sz="1100" b="1" dirty="0">
                <a:solidFill>
                  <a:srgbClr val="FF0000"/>
                </a:solidFill>
                <a:latin typeface="Arial" charset="0"/>
              </a:rPr>
              <a:t>НЯИК</a:t>
            </a:r>
            <a:endParaRPr lang="en-US" sz="1100" b="1" dirty="0">
              <a:solidFill>
                <a:srgbClr val="FF0000"/>
              </a:solidFill>
              <a:latin typeface="Arial" charset="0"/>
            </a:endParaRPr>
          </a:p>
        </p:txBody>
      </p:sp>
      <p:sp>
        <p:nvSpPr>
          <p:cNvPr id="45063" name="AutoShape 28"/>
          <p:cNvSpPr>
            <a:spLocks noChangeArrowheads="1"/>
          </p:cNvSpPr>
          <p:nvPr/>
        </p:nvSpPr>
        <p:spPr bwMode="auto">
          <a:xfrm>
            <a:off x="3131840" y="2708920"/>
            <a:ext cx="948256" cy="358775"/>
          </a:xfrm>
          <a:custGeom>
            <a:avLst/>
            <a:gdLst>
              <a:gd name="T0" fmla="*/ 5007906 w 21600"/>
              <a:gd name="T1" fmla="*/ 0 h 21600"/>
              <a:gd name="T2" fmla="*/ 0 w 21600"/>
              <a:gd name="T3" fmla="*/ 10785006 h 21600"/>
              <a:gd name="T4" fmla="*/ 5007906 w 21600"/>
              <a:gd name="T5" fmla="*/ 21570011 h 21600"/>
              <a:gd name="T6" fmla="*/ 6677243 w 21600"/>
              <a:gd name="T7" fmla="*/ 10785006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45064" name="AutoShape 29"/>
          <p:cNvSpPr>
            <a:spLocks noChangeArrowheads="1"/>
          </p:cNvSpPr>
          <p:nvPr/>
        </p:nvSpPr>
        <p:spPr bwMode="auto">
          <a:xfrm>
            <a:off x="2843808" y="2060848"/>
            <a:ext cx="877808" cy="363578"/>
          </a:xfrm>
          <a:custGeom>
            <a:avLst/>
            <a:gdLst>
              <a:gd name="T0" fmla="*/ 5007906 w 21600"/>
              <a:gd name="T1" fmla="*/ 0 h 21600"/>
              <a:gd name="T2" fmla="*/ 0 w 21600"/>
              <a:gd name="T3" fmla="*/ 10785006 h 21600"/>
              <a:gd name="T4" fmla="*/ 5007906 w 21600"/>
              <a:gd name="T5" fmla="*/ 21570011 h 21600"/>
              <a:gd name="T6" fmla="*/ 6677243 w 21600"/>
              <a:gd name="T7" fmla="*/ 10785006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45065" name="AutoShape 30"/>
          <p:cNvSpPr>
            <a:spLocks noChangeArrowheads="1"/>
          </p:cNvSpPr>
          <p:nvPr/>
        </p:nvSpPr>
        <p:spPr bwMode="auto">
          <a:xfrm>
            <a:off x="2569152" y="1373555"/>
            <a:ext cx="850720" cy="363955"/>
          </a:xfrm>
          <a:custGeom>
            <a:avLst/>
            <a:gdLst>
              <a:gd name="T0" fmla="*/ 5007906 w 21600"/>
              <a:gd name="T1" fmla="*/ 0 h 21600"/>
              <a:gd name="T2" fmla="*/ 0 w 21600"/>
              <a:gd name="T3" fmla="*/ 10785006 h 21600"/>
              <a:gd name="T4" fmla="*/ 5007906 w 21600"/>
              <a:gd name="T5" fmla="*/ 21570011 h 21600"/>
              <a:gd name="T6" fmla="*/ 6677243 w 21600"/>
              <a:gd name="T7" fmla="*/ 10785006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45066" name="AutoShape 32"/>
          <p:cNvSpPr>
            <a:spLocks noChangeArrowheads="1"/>
          </p:cNvSpPr>
          <p:nvPr/>
        </p:nvSpPr>
        <p:spPr bwMode="auto">
          <a:xfrm>
            <a:off x="3492201" y="3573016"/>
            <a:ext cx="719759" cy="360363"/>
          </a:xfrm>
          <a:custGeom>
            <a:avLst/>
            <a:gdLst>
              <a:gd name="T0" fmla="*/ 206812424 w 21600"/>
              <a:gd name="T1" fmla="*/ 0 h 21600"/>
              <a:gd name="T2" fmla="*/ 0 w 21600"/>
              <a:gd name="T3" fmla="*/ 50151117 h 21600"/>
              <a:gd name="T4" fmla="*/ 206812424 w 21600"/>
              <a:gd name="T5" fmla="*/ 100302233 h 21600"/>
              <a:gd name="T6" fmla="*/ 275749619 w 21600"/>
              <a:gd name="T7" fmla="*/ 5015111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45067" name="Shape 171"/>
          <p:cNvSpPr>
            <a:spLocks noChangeArrowheads="1"/>
          </p:cNvSpPr>
          <p:nvPr/>
        </p:nvSpPr>
        <p:spPr bwMode="auto">
          <a:xfrm>
            <a:off x="4267912" y="3026136"/>
            <a:ext cx="4768138" cy="1785100"/>
          </a:xfrm>
          <a:prstGeom prst="rect">
            <a:avLst/>
          </a:prstGeom>
          <a:noFill/>
          <a:ln w="12700">
            <a:solidFill>
              <a:schemeClr val="tx2"/>
            </a:solidFill>
            <a:miter lim="400000"/>
            <a:headEnd/>
            <a:tailEnd/>
          </a:ln>
        </p:spPr>
        <p:txBody>
          <a:bodyPr wrap="square" lIns="45718" tIns="45718" rIns="45718" bIns="45718">
            <a:spAutoFit/>
          </a:bodyPr>
          <a:lstStyle/>
          <a:p>
            <a:pPr>
              <a:tabLst>
                <a:tab pos="539750" algn="l"/>
              </a:tabLst>
            </a:pPr>
            <a:r>
              <a:rPr lang="ru-RU" sz="1000" b="1" dirty="0">
                <a:solidFill>
                  <a:srgbClr val="1F477D"/>
                </a:solidFill>
                <a:latin typeface="Arial" charset="0"/>
              </a:rPr>
              <a:t>Специфические требования к работникам атомной отрасли</a:t>
            </a:r>
            <a:r>
              <a:rPr lang="ru-RU" sz="1000" b="1" dirty="0" smtClean="0">
                <a:solidFill>
                  <a:srgbClr val="1F477D"/>
                </a:solidFill>
                <a:latin typeface="Arial" charset="0"/>
              </a:rPr>
              <a:t>:</a:t>
            </a:r>
            <a:endParaRPr lang="ru-RU" sz="1000" b="1" dirty="0">
              <a:solidFill>
                <a:srgbClr val="1F477D"/>
              </a:solidFill>
              <a:latin typeface="Arial" charset="0"/>
            </a:endParaRPr>
          </a:p>
          <a:p>
            <a:pPr>
              <a:buFont typeface="Wingdings" pitchFamily="2" charset="2"/>
              <a:buChar char="ü"/>
              <a:tabLst>
                <a:tab pos="539750" algn="l"/>
              </a:tabLst>
            </a:pPr>
            <a:r>
              <a:rPr lang="ru-RU" sz="1000" dirty="0">
                <a:solidFill>
                  <a:srgbClr val="1F477D"/>
                </a:solidFill>
                <a:latin typeface="Arial" charset="0"/>
              </a:rPr>
              <a:t>Наличие знаний о характере и степени влияния трудовой функции на безопасность использования атомной энергии </a:t>
            </a:r>
          </a:p>
          <a:p>
            <a:pPr>
              <a:buFont typeface="Wingdings" pitchFamily="2" charset="2"/>
              <a:buChar char="ü"/>
              <a:tabLst>
                <a:tab pos="539750" algn="l"/>
              </a:tabLst>
            </a:pPr>
            <a:r>
              <a:rPr lang="ru-RU" sz="1000" dirty="0">
                <a:solidFill>
                  <a:srgbClr val="1F477D"/>
                </a:solidFill>
                <a:latin typeface="Arial" charset="0"/>
              </a:rPr>
              <a:t>Применение первичных средств пожаротушения и средств индивидуальной защиты</a:t>
            </a:r>
          </a:p>
          <a:p>
            <a:pPr>
              <a:buFont typeface="Wingdings" pitchFamily="2" charset="2"/>
              <a:buChar char="ü"/>
              <a:tabLst>
                <a:tab pos="539750" algn="l"/>
              </a:tabLst>
            </a:pPr>
            <a:r>
              <a:rPr lang="ru-RU" sz="1000" dirty="0">
                <a:solidFill>
                  <a:srgbClr val="1F477D"/>
                </a:solidFill>
                <a:latin typeface="Arial" charset="0"/>
              </a:rPr>
              <a:t>Действия по разработанным работодателем инструкциям в условиях чрезвычайных ситуаций</a:t>
            </a:r>
          </a:p>
          <a:p>
            <a:pPr>
              <a:buFont typeface="Wingdings" pitchFamily="2" charset="2"/>
              <a:buChar char="ü"/>
              <a:tabLst>
                <a:tab pos="539750" algn="l"/>
              </a:tabLst>
            </a:pPr>
            <a:r>
              <a:rPr lang="ru-RU" sz="1000" dirty="0">
                <a:solidFill>
                  <a:srgbClr val="1F477D"/>
                </a:solidFill>
                <a:latin typeface="Arial" charset="0"/>
              </a:rPr>
              <a:t>Понимание методических основ учёта и контроля ядерных материалов, радиоактивных веществ и отходов</a:t>
            </a:r>
          </a:p>
          <a:p>
            <a:pPr>
              <a:buFont typeface="Wingdings" pitchFamily="2" charset="2"/>
              <a:buChar char="ü"/>
              <a:tabLst>
                <a:tab pos="539750" algn="l"/>
              </a:tabLst>
            </a:pPr>
            <a:r>
              <a:rPr lang="ru-RU" sz="1000" dirty="0">
                <a:solidFill>
                  <a:srgbClr val="1F477D"/>
                </a:solidFill>
                <a:latin typeface="Arial" charset="0"/>
              </a:rPr>
              <a:t>Ответственность за выполнение мероприятий по учёту и контролю ядерных материалов, радиоактивных веществ и отходов</a:t>
            </a:r>
            <a:endParaRPr lang="ru-RU" sz="1000" b="1" dirty="0">
              <a:solidFill>
                <a:srgbClr val="002060"/>
              </a:solidFill>
              <a:latin typeface="Arial" charset="0"/>
              <a:cs typeface="Arial" charset="0"/>
            </a:endParaRPr>
          </a:p>
        </p:txBody>
      </p:sp>
      <p:sp>
        <p:nvSpPr>
          <p:cNvPr id="45068" name="Shape 171"/>
          <p:cNvSpPr>
            <a:spLocks noChangeArrowheads="1"/>
          </p:cNvSpPr>
          <p:nvPr/>
        </p:nvSpPr>
        <p:spPr bwMode="auto">
          <a:xfrm>
            <a:off x="4267912" y="4810939"/>
            <a:ext cx="4768138" cy="1603375"/>
          </a:xfrm>
          <a:prstGeom prst="rect">
            <a:avLst/>
          </a:prstGeom>
          <a:noFill/>
          <a:ln w="12700">
            <a:solidFill>
              <a:schemeClr val="tx2"/>
            </a:solidFill>
            <a:miter lim="400000"/>
            <a:headEnd/>
            <a:tailEnd/>
          </a:ln>
        </p:spPr>
        <p:txBody>
          <a:bodyPr wrap="square" lIns="45718" tIns="45718" rIns="45718" bIns="45718">
            <a:spAutoFit/>
          </a:bodyPr>
          <a:lstStyle/>
          <a:p>
            <a:pPr marL="182563" indent="-182563"/>
            <a:r>
              <a:rPr lang="ru-RU" sz="1000" b="1" dirty="0">
                <a:solidFill>
                  <a:srgbClr val="1F477D"/>
                </a:solidFill>
                <a:latin typeface="Arial" charset="0"/>
                <a:cs typeface="Arial" charset="0"/>
              </a:rPr>
              <a:t>Основные виды деятельности:</a:t>
            </a:r>
          </a:p>
          <a:p>
            <a:pPr marL="182563" indent="-182563">
              <a:spcBef>
                <a:spcPts val="100"/>
              </a:spcBef>
            </a:pPr>
            <a:r>
              <a:rPr lang="ru-RU" sz="1000" dirty="0">
                <a:solidFill>
                  <a:srgbClr val="1F477D"/>
                </a:solidFill>
                <a:latin typeface="Arial" charset="0"/>
                <a:cs typeface="Arial" charset="0"/>
              </a:rPr>
              <a:t> </a:t>
            </a:r>
            <a:r>
              <a:rPr lang="ru-RU" sz="900" dirty="0">
                <a:solidFill>
                  <a:srgbClr val="1F477D"/>
                </a:solidFill>
                <a:latin typeface="Arial" charset="0"/>
                <a:cs typeface="Arial" charset="0"/>
              </a:rPr>
              <a:t>- добыча полезных ископаемых;</a:t>
            </a:r>
          </a:p>
          <a:p>
            <a:pPr marL="182563" indent="-182563">
              <a:spcBef>
                <a:spcPts val="100"/>
              </a:spcBef>
            </a:pPr>
            <a:r>
              <a:rPr lang="ru-RU" sz="900" dirty="0">
                <a:solidFill>
                  <a:srgbClr val="1F477D"/>
                </a:solidFill>
                <a:latin typeface="Arial" charset="0"/>
                <a:cs typeface="Arial" charset="0"/>
              </a:rPr>
              <a:t> - производство ядерного топлива;</a:t>
            </a:r>
          </a:p>
          <a:p>
            <a:pPr marL="182563" indent="-182563">
              <a:spcBef>
                <a:spcPts val="100"/>
              </a:spcBef>
            </a:pPr>
            <a:r>
              <a:rPr lang="ru-RU" sz="900" dirty="0">
                <a:solidFill>
                  <a:srgbClr val="1F477D"/>
                </a:solidFill>
                <a:latin typeface="Arial" charset="0"/>
                <a:cs typeface="Arial" charset="0"/>
              </a:rPr>
              <a:t> - генерация электроэнергии;</a:t>
            </a:r>
          </a:p>
          <a:p>
            <a:pPr marL="182563" indent="-182563">
              <a:spcBef>
                <a:spcPts val="100"/>
              </a:spcBef>
            </a:pPr>
            <a:r>
              <a:rPr lang="ru-RU" sz="900" dirty="0">
                <a:solidFill>
                  <a:srgbClr val="1F477D"/>
                </a:solidFill>
                <a:latin typeface="Arial" charset="0"/>
                <a:cs typeface="Arial" charset="0"/>
              </a:rPr>
              <a:t> - ядерное энергетическое машиностроение;</a:t>
            </a:r>
          </a:p>
          <a:p>
            <a:pPr marL="182563" indent="-182563">
              <a:spcBef>
                <a:spcPts val="100"/>
              </a:spcBef>
            </a:pPr>
            <a:r>
              <a:rPr lang="ru-RU" sz="900" dirty="0">
                <a:solidFill>
                  <a:srgbClr val="1F477D"/>
                </a:solidFill>
                <a:latin typeface="Arial" charset="0"/>
                <a:cs typeface="Arial" charset="0"/>
              </a:rPr>
              <a:t> - ядерный оружейный комплекс;</a:t>
            </a:r>
          </a:p>
          <a:p>
            <a:pPr marL="182563" indent="-182563">
              <a:spcBef>
                <a:spcPts val="100"/>
              </a:spcBef>
            </a:pPr>
            <a:r>
              <a:rPr lang="ru-RU" sz="900" dirty="0">
                <a:solidFill>
                  <a:srgbClr val="1F477D"/>
                </a:solidFill>
                <a:latin typeface="Arial" charset="0"/>
                <a:cs typeface="Arial" charset="0"/>
              </a:rPr>
              <a:t> - заключительная стадия жизненного цикла объектов использования атомной энергии;</a:t>
            </a:r>
          </a:p>
          <a:p>
            <a:pPr marL="182563" indent="-182563">
              <a:spcBef>
                <a:spcPts val="100"/>
              </a:spcBef>
            </a:pPr>
            <a:r>
              <a:rPr lang="ru-RU" sz="900" dirty="0">
                <a:solidFill>
                  <a:srgbClr val="1F477D"/>
                </a:solidFill>
                <a:latin typeface="Arial" charset="0"/>
                <a:cs typeface="Arial" charset="0"/>
              </a:rPr>
              <a:t> - радиационные технологии;</a:t>
            </a:r>
          </a:p>
          <a:p>
            <a:pPr marL="182563" indent="-182563">
              <a:spcBef>
                <a:spcPts val="100"/>
              </a:spcBef>
            </a:pPr>
            <a:r>
              <a:rPr lang="ru-RU" sz="900" dirty="0">
                <a:solidFill>
                  <a:srgbClr val="1F477D"/>
                </a:solidFill>
                <a:latin typeface="Arial" charset="0"/>
                <a:cs typeface="Arial" charset="0"/>
              </a:rPr>
              <a:t> - прикладная и фундаментальная наука в сфере атомной энергии.</a:t>
            </a:r>
          </a:p>
        </p:txBody>
      </p:sp>
      <p:sp>
        <p:nvSpPr>
          <p:cNvPr id="45069" name="Номер слайда 7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CB4889E-9B80-4080-8FD2-06C13EDA2F7B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ru-RU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одзаголовок 2"/>
          <p:cNvSpPr txBox="1">
            <a:spLocks/>
          </p:cNvSpPr>
          <p:nvPr/>
        </p:nvSpPr>
        <p:spPr>
          <a:xfrm>
            <a:off x="250825" y="325661"/>
            <a:ext cx="7561263" cy="72707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/>
          <a:lstStyle/>
          <a:p>
            <a:pPr algn="ctr">
              <a:buFont typeface="Arial" charset="0"/>
              <a:buNone/>
              <a:defRPr/>
            </a:pPr>
            <a:r>
              <a:rPr lang="ru-RU" sz="2000" b="1" dirty="0">
                <a:solidFill>
                  <a:schemeClr val="bg1"/>
                </a:solidFill>
                <a:latin typeface="Arial" charset="0"/>
              </a:rPr>
              <a:t>Отраслевая системы оценки квалификаций </a:t>
            </a:r>
          </a:p>
          <a:p>
            <a:pPr algn="ctr">
              <a:buFont typeface="Arial" charset="0"/>
              <a:buNone/>
              <a:defRPr/>
            </a:pPr>
            <a:r>
              <a:rPr lang="ru-RU" sz="2000" b="1" dirty="0">
                <a:solidFill>
                  <a:schemeClr val="bg1"/>
                </a:solidFill>
                <a:latin typeface="Arial" charset="0"/>
                <a:cs typeface="Arial" charset="0"/>
              </a:rPr>
              <a:t>в</a:t>
            </a:r>
            <a:r>
              <a:rPr lang="ru-RU" sz="2000" b="1" dirty="0">
                <a:solidFill>
                  <a:schemeClr val="bg1"/>
                </a:solidFill>
                <a:latin typeface="Arial" charset="0"/>
                <a:ea typeface="Calibri" pitchFamily="34" charset="0"/>
                <a:cs typeface="Arial" charset="0"/>
              </a:rPr>
              <a:t> </a:t>
            </a:r>
            <a:r>
              <a:rPr lang="ru-RU" sz="2000" b="1" dirty="0">
                <a:solidFill>
                  <a:schemeClr val="bg1"/>
                </a:solidFill>
                <a:latin typeface="Arial" charset="0"/>
                <a:cs typeface="Arial" charset="0"/>
              </a:rPr>
              <a:t>сфере атомной энергии</a:t>
            </a:r>
          </a:p>
        </p:txBody>
      </p:sp>
      <p:sp>
        <p:nvSpPr>
          <p:cNvPr id="47106" name="Номер слайда 1"/>
          <p:cNvSpPr txBox="1">
            <a:spLocks noGrp="1"/>
          </p:cNvSpPr>
          <p:nvPr/>
        </p:nvSpPr>
        <p:spPr bwMode="auto">
          <a:xfrm>
            <a:off x="8805863" y="6532563"/>
            <a:ext cx="354012" cy="303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fld id="{BAC95B4F-CF08-4D6A-9A72-8E140EB545A1}" type="slidenum">
              <a:rPr lang="ru-RU" sz="1200" b="1">
                <a:solidFill>
                  <a:schemeClr val="bg1"/>
                </a:solidFill>
                <a:latin typeface="Arial Narrow" pitchFamily="34" charset="0"/>
              </a:rPr>
              <a:pPr algn="ctr"/>
              <a:t>3</a:t>
            </a:fld>
            <a:endParaRPr lang="ru-RU" sz="1200" b="1">
              <a:solidFill>
                <a:schemeClr val="bg1"/>
              </a:solidFill>
              <a:latin typeface="Arial Narrow" pitchFamily="34" charset="0"/>
            </a:endParaRPr>
          </a:p>
        </p:txBody>
      </p:sp>
      <p:pic>
        <p:nvPicPr>
          <p:cNvPr id="47107" name="Рисунок 5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7527" y="1340768"/>
            <a:ext cx="5554593" cy="4862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108" name="Rectangle 3"/>
          <p:cNvSpPr>
            <a:spLocks/>
          </p:cNvSpPr>
          <p:nvPr/>
        </p:nvSpPr>
        <p:spPr bwMode="auto">
          <a:xfrm>
            <a:off x="5652120" y="1052513"/>
            <a:ext cx="3419872" cy="540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tabLst>
                <a:tab pos="357188" algn="l"/>
              </a:tabLst>
            </a:pPr>
            <a:r>
              <a:rPr lang="ru-RU" sz="1000" b="1" dirty="0">
                <a:solidFill>
                  <a:schemeClr val="accent2">
                    <a:lumMod val="75000"/>
                  </a:schemeClr>
                </a:solidFill>
                <a:latin typeface="Arial" charset="0"/>
              </a:rPr>
              <a:t>Совет по профессиональным квалификациям в сфере атомной энергии (СПК АЭ) </a:t>
            </a:r>
            <a:r>
              <a:rPr lang="ru-RU" sz="1000" b="1" dirty="0">
                <a:solidFill>
                  <a:srgbClr val="1F477D"/>
                </a:solidFill>
                <a:latin typeface="Arial" charset="0"/>
              </a:rPr>
              <a:t>- создан при Союзе работодателей атомной промышленности, энергетики и науки России </a:t>
            </a:r>
          </a:p>
          <a:p>
            <a:pPr>
              <a:tabLst>
                <a:tab pos="357188" algn="l"/>
              </a:tabLst>
            </a:pPr>
            <a:r>
              <a:rPr lang="ru-RU" sz="1000" b="1" dirty="0">
                <a:solidFill>
                  <a:srgbClr val="1F477D"/>
                </a:solidFill>
                <a:latin typeface="Arial" charset="0"/>
              </a:rPr>
              <a:t>Цель:</a:t>
            </a:r>
            <a:r>
              <a:rPr lang="ru-RU" sz="1000" dirty="0">
                <a:solidFill>
                  <a:srgbClr val="1F477D"/>
                </a:solidFill>
                <a:latin typeface="Arial" charset="0"/>
              </a:rPr>
              <a:t> создание и развитие системы профессиональных квалификаций в атомной отрасли.</a:t>
            </a:r>
            <a:endParaRPr lang="ru-RU" sz="1000" b="1" dirty="0">
              <a:solidFill>
                <a:srgbClr val="1F477D"/>
              </a:solidFill>
              <a:latin typeface="Arial" charset="0"/>
            </a:endParaRPr>
          </a:p>
          <a:p>
            <a:pPr>
              <a:tabLst>
                <a:tab pos="357188" algn="l"/>
              </a:tabLst>
            </a:pPr>
            <a:endParaRPr lang="ru-RU" sz="1000" dirty="0">
              <a:solidFill>
                <a:schemeClr val="tx1"/>
              </a:solidFill>
              <a:latin typeface="Arial" charset="0"/>
            </a:endParaRPr>
          </a:p>
          <a:p>
            <a:pPr>
              <a:tabLst>
                <a:tab pos="357188" algn="l"/>
              </a:tabLst>
            </a:pPr>
            <a:r>
              <a:rPr lang="ru-RU" sz="1000" b="1" dirty="0">
                <a:solidFill>
                  <a:schemeClr val="accent2">
                    <a:lumMod val="75000"/>
                  </a:schemeClr>
                </a:solidFill>
                <a:latin typeface="Arial" charset="0"/>
              </a:rPr>
              <a:t>Ассоциация организаций, участвующих в реализации ядерных инновационных </a:t>
            </a:r>
            <a:r>
              <a:rPr lang="ru-RU" sz="1000" b="1" dirty="0" smtClean="0">
                <a:solidFill>
                  <a:schemeClr val="accent2">
                    <a:lumMod val="75000"/>
                  </a:schemeClr>
                </a:solidFill>
                <a:latin typeface="Arial" charset="0"/>
              </a:rPr>
              <a:t>проектов</a:t>
            </a:r>
            <a:r>
              <a:rPr lang="en-US" sz="1000" b="1" dirty="0" smtClean="0">
                <a:solidFill>
                  <a:schemeClr val="accent2">
                    <a:lumMod val="75000"/>
                  </a:schemeClr>
                </a:solidFill>
                <a:latin typeface="Arial" charset="0"/>
              </a:rPr>
              <a:t>,</a:t>
            </a:r>
            <a:r>
              <a:rPr lang="ru-RU" sz="1000" b="1" dirty="0" smtClean="0">
                <a:solidFill>
                  <a:schemeClr val="accent2">
                    <a:lumMod val="75000"/>
                  </a:schemeClr>
                </a:solidFill>
                <a:latin typeface="Arial" charset="0"/>
              </a:rPr>
              <a:t> </a:t>
            </a:r>
            <a:r>
              <a:rPr lang="ru-RU" sz="1000" b="1" dirty="0">
                <a:solidFill>
                  <a:schemeClr val="accent2">
                    <a:lumMod val="75000"/>
                  </a:schemeClr>
                </a:solidFill>
                <a:latin typeface="Arial" charset="0"/>
              </a:rPr>
              <a:t>«Национальный ядерный</a:t>
            </a:r>
            <a:r>
              <a:rPr lang="en-US" sz="1000" b="1" dirty="0">
                <a:solidFill>
                  <a:schemeClr val="accent2">
                    <a:lumMod val="75000"/>
                  </a:schemeClr>
                </a:solidFill>
                <a:latin typeface="Arial" charset="0"/>
              </a:rPr>
              <a:t> </a:t>
            </a:r>
            <a:r>
              <a:rPr lang="ru-RU" sz="1000" b="1" dirty="0">
                <a:solidFill>
                  <a:schemeClr val="accent2">
                    <a:lumMod val="75000"/>
                  </a:schemeClr>
                </a:solidFill>
                <a:latin typeface="Arial" charset="0"/>
              </a:rPr>
              <a:t>инновационный консорциум»</a:t>
            </a:r>
            <a:r>
              <a:rPr lang="en-US" sz="1000" b="1" dirty="0">
                <a:solidFill>
                  <a:schemeClr val="accent2">
                    <a:lumMod val="75000"/>
                  </a:schemeClr>
                </a:solidFill>
                <a:latin typeface="Arial" charset="0"/>
              </a:rPr>
              <a:t> </a:t>
            </a:r>
            <a:r>
              <a:rPr lang="ru-RU" sz="1000" b="1" dirty="0">
                <a:solidFill>
                  <a:schemeClr val="accent2">
                    <a:lumMod val="75000"/>
                  </a:schemeClr>
                </a:solidFill>
                <a:latin typeface="Arial" charset="0"/>
              </a:rPr>
              <a:t>(НЯИК) </a:t>
            </a:r>
          </a:p>
          <a:p>
            <a:pPr>
              <a:tabLst>
                <a:tab pos="357188" algn="l"/>
              </a:tabLst>
            </a:pPr>
            <a:r>
              <a:rPr lang="ru-RU" sz="1000" b="1" u="sng" dirty="0">
                <a:solidFill>
                  <a:srgbClr val="1F477D"/>
                </a:solidFill>
                <a:latin typeface="Arial" charset="0"/>
              </a:rPr>
              <a:t>В состав НЯИК входят:</a:t>
            </a:r>
          </a:p>
          <a:p>
            <a:pPr>
              <a:tabLst>
                <a:tab pos="357188" algn="l"/>
              </a:tabLst>
            </a:pPr>
            <a:r>
              <a:rPr lang="ru-RU" sz="1000" b="1" dirty="0">
                <a:solidFill>
                  <a:srgbClr val="0000FF"/>
                </a:solidFill>
                <a:latin typeface="Arial" charset="0"/>
              </a:rPr>
              <a:t>ведущие научные центры: </a:t>
            </a:r>
            <a:r>
              <a:rPr lang="ru-RU" sz="1000" b="1" dirty="0">
                <a:solidFill>
                  <a:srgbClr val="1F477D"/>
                </a:solidFill>
                <a:latin typeface="Arial" charset="0"/>
              </a:rPr>
              <a:t>ФГУП «РФЯЦ ВНИИЭФ», ФГУП «РФЯЦ ВНИИТФ имени академика Е.И. </a:t>
            </a:r>
            <a:r>
              <a:rPr lang="ru-RU" sz="1000" b="1" dirty="0" err="1">
                <a:solidFill>
                  <a:srgbClr val="1F477D"/>
                </a:solidFill>
                <a:latin typeface="Arial" charset="0"/>
              </a:rPr>
              <a:t>Забабахина</a:t>
            </a:r>
            <a:r>
              <a:rPr lang="ru-RU" sz="1000" b="1" dirty="0">
                <a:solidFill>
                  <a:srgbClr val="1F477D"/>
                </a:solidFill>
                <a:latin typeface="Arial" charset="0"/>
              </a:rPr>
              <a:t>»</a:t>
            </a:r>
          </a:p>
          <a:p>
            <a:pPr>
              <a:tabLst>
                <a:tab pos="357188" algn="l"/>
              </a:tabLst>
            </a:pPr>
            <a:r>
              <a:rPr lang="ru-RU" sz="1000" b="1" dirty="0">
                <a:solidFill>
                  <a:schemeClr val="hlink"/>
                </a:solidFill>
                <a:latin typeface="Arial" charset="0"/>
              </a:rPr>
              <a:t>холдинги:</a:t>
            </a:r>
            <a:r>
              <a:rPr lang="ru-RU" sz="1000" b="1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ru-RU" sz="1000" b="1" dirty="0">
                <a:solidFill>
                  <a:srgbClr val="1F477D"/>
                </a:solidFill>
                <a:latin typeface="Arial" charset="0"/>
              </a:rPr>
              <a:t>ОАО «Концерн Росэнергоатом», ОАО «ТВЭЛ», ЗАО «Наука и инновации», ОАО «</a:t>
            </a:r>
            <a:r>
              <a:rPr lang="ru-RU" sz="1000" b="1" dirty="0" err="1">
                <a:solidFill>
                  <a:srgbClr val="1F477D"/>
                </a:solidFill>
                <a:latin typeface="Arial" charset="0"/>
              </a:rPr>
              <a:t>Атомредметзолото</a:t>
            </a:r>
            <a:r>
              <a:rPr lang="ru-RU" sz="1000" b="1" dirty="0">
                <a:solidFill>
                  <a:srgbClr val="1F477D"/>
                </a:solidFill>
                <a:latin typeface="Arial" charset="0"/>
              </a:rPr>
              <a:t>», ОАО «</a:t>
            </a:r>
            <a:r>
              <a:rPr lang="ru-RU" sz="1000" b="1" dirty="0" err="1">
                <a:solidFill>
                  <a:srgbClr val="1F477D"/>
                </a:solidFill>
                <a:latin typeface="Arial" charset="0"/>
              </a:rPr>
              <a:t>Атомэнергомаш</a:t>
            </a:r>
            <a:r>
              <a:rPr lang="ru-RU" sz="1000" b="1" dirty="0">
                <a:solidFill>
                  <a:srgbClr val="1F477D"/>
                </a:solidFill>
                <a:latin typeface="Arial" charset="0"/>
              </a:rPr>
              <a:t>», ОАО «</a:t>
            </a:r>
            <a:r>
              <a:rPr lang="ru-RU" sz="1000" b="1" dirty="0" err="1">
                <a:solidFill>
                  <a:srgbClr val="1F477D"/>
                </a:solidFill>
                <a:latin typeface="Arial" charset="0"/>
              </a:rPr>
              <a:t>Техснабэкспорт</a:t>
            </a:r>
            <a:r>
              <a:rPr lang="ru-RU" sz="1000" b="1" dirty="0">
                <a:solidFill>
                  <a:srgbClr val="1F477D"/>
                </a:solidFill>
                <a:latin typeface="Arial" charset="0"/>
              </a:rPr>
              <a:t>»</a:t>
            </a:r>
          </a:p>
          <a:p>
            <a:pPr>
              <a:tabLst>
                <a:tab pos="357188" algn="l"/>
              </a:tabLst>
            </a:pPr>
            <a:r>
              <a:rPr lang="ru-RU" sz="1000" b="1" dirty="0">
                <a:solidFill>
                  <a:schemeClr val="hlink"/>
                </a:solidFill>
                <a:latin typeface="Arial" charset="0"/>
              </a:rPr>
              <a:t>общественно-профессиональные организации</a:t>
            </a:r>
            <a:r>
              <a:rPr lang="ru-RU" sz="1000" b="1" dirty="0">
                <a:solidFill>
                  <a:schemeClr val="tx1"/>
                </a:solidFill>
                <a:latin typeface="Arial" charset="0"/>
              </a:rPr>
              <a:t>: </a:t>
            </a:r>
            <a:r>
              <a:rPr lang="ru-RU" sz="1000" b="1" dirty="0">
                <a:solidFill>
                  <a:srgbClr val="1F477D"/>
                </a:solidFill>
                <a:latin typeface="Arial" charset="0"/>
              </a:rPr>
              <a:t>Ядерное общество России, Союз научных инженерных общественных организаций</a:t>
            </a:r>
            <a:endParaRPr lang="ru-RU" sz="1000" dirty="0">
              <a:solidFill>
                <a:srgbClr val="1F477D"/>
              </a:solidFill>
              <a:latin typeface="Arial" charset="0"/>
            </a:endParaRPr>
          </a:p>
          <a:p>
            <a:pPr>
              <a:tabLst>
                <a:tab pos="357188" algn="l"/>
              </a:tabLst>
            </a:pPr>
            <a:r>
              <a:rPr lang="ru-RU" sz="1000" b="1" dirty="0">
                <a:solidFill>
                  <a:srgbClr val="0000FF"/>
                </a:solidFill>
                <a:latin typeface="Arial" charset="0"/>
              </a:rPr>
              <a:t>образовательные учреждения в составе Ассоциации опорных вузов ГК «</a:t>
            </a:r>
            <a:r>
              <a:rPr lang="ru-RU" sz="1000" b="1" dirty="0" err="1">
                <a:solidFill>
                  <a:srgbClr val="0000FF"/>
                </a:solidFill>
                <a:latin typeface="Arial" charset="0"/>
              </a:rPr>
              <a:t>Росатом</a:t>
            </a:r>
            <a:r>
              <a:rPr lang="ru-RU" sz="1000" b="1" dirty="0">
                <a:solidFill>
                  <a:srgbClr val="0000FF"/>
                </a:solidFill>
                <a:latin typeface="Arial" charset="0"/>
              </a:rPr>
              <a:t>»</a:t>
            </a:r>
          </a:p>
          <a:p>
            <a:pPr>
              <a:tabLst>
                <a:tab pos="357188" algn="l"/>
              </a:tabLst>
            </a:pPr>
            <a:r>
              <a:rPr lang="ru-RU" sz="1000" b="1" dirty="0">
                <a:solidFill>
                  <a:srgbClr val="1F477D"/>
                </a:solidFill>
                <a:latin typeface="Arial" charset="0"/>
              </a:rPr>
              <a:t>Цель:</a:t>
            </a:r>
            <a:r>
              <a:rPr lang="ru-RU" sz="1000" dirty="0">
                <a:solidFill>
                  <a:srgbClr val="1F477D"/>
                </a:solidFill>
                <a:latin typeface="Arial" charset="0"/>
              </a:rPr>
              <a:t> обеспечение связи сферы образования и сферы профессиональной деятельности в интересах ГК «</a:t>
            </a:r>
            <a:r>
              <a:rPr lang="ru-RU" sz="1000" dirty="0" err="1">
                <a:solidFill>
                  <a:srgbClr val="1F477D"/>
                </a:solidFill>
                <a:latin typeface="Arial" charset="0"/>
              </a:rPr>
              <a:t>Росатом</a:t>
            </a:r>
            <a:r>
              <a:rPr lang="ru-RU" sz="1000" dirty="0">
                <a:solidFill>
                  <a:srgbClr val="1F477D"/>
                </a:solidFill>
                <a:latin typeface="Arial" charset="0"/>
              </a:rPr>
              <a:t>»</a:t>
            </a:r>
          </a:p>
          <a:p>
            <a:pPr>
              <a:tabLst>
                <a:tab pos="357188" algn="l"/>
              </a:tabLst>
            </a:pPr>
            <a:endParaRPr lang="ru-RU" sz="1000" dirty="0">
              <a:solidFill>
                <a:schemeClr val="tx1"/>
              </a:solidFill>
              <a:latin typeface="Arial" charset="0"/>
            </a:endParaRPr>
          </a:p>
          <a:p>
            <a:pPr>
              <a:tabLst>
                <a:tab pos="357188" algn="l"/>
              </a:tabLst>
            </a:pPr>
            <a:r>
              <a:rPr lang="ru-RU" sz="1000" b="1" dirty="0">
                <a:solidFill>
                  <a:schemeClr val="accent2">
                    <a:lumMod val="75000"/>
                  </a:schemeClr>
                </a:solidFill>
                <a:latin typeface="Arial" charset="0"/>
              </a:rPr>
              <a:t>Центры оценки и сертификации квалификаций работников атомной отрасли </a:t>
            </a:r>
            <a:r>
              <a:rPr lang="en-US" sz="1000" b="1" dirty="0">
                <a:solidFill>
                  <a:srgbClr val="1F477D"/>
                </a:solidFill>
                <a:latin typeface="Arial" charset="0"/>
              </a:rPr>
              <a:t>– </a:t>
            </a:r>
            <a:r>
              <a:rPr lang="ru-RU" sz="1000" b="1" dirty="0">
                <a:solidFill>
                  <a:srgbClr val="0000FF"/>
                </a:solidFill>
                <a:latin typeface="Arial" charset="0"/>
              </a:rPr>
              <a:t>независимые организации,</a:t>
            </a:r>
            <a:r>
              <a:rPr lang="ru-RU" sz="1000" b="1" dirty="0">
                <a:solidFill>
                  <a:srgbClr val="1F477D"/>
                </a:solidFill>
                <a:latin typeface="Arial" charset="0"/>
              </a:rPr>
              <a:t> созданные в форме автономных некоммерческих организаций</a:t>
            </a:r>
          </a:p>
          <a:p>
            <a:pPr>
              <a:tabLst>
                <a:tab pos="357188" algn="l"/>
              </a:tabLst>
            </a:pPr>
            <a:r>
              <a:rPr lang="ru-RU" sz="1000" b="1" dirty="0">
                <a:solidFill>
                  <a:srgbClr val="1F477D"/>
                </a:solidFill>
                <a:latin typeface="Arial" charset="0"/>
              </a:rPr>
              <a:t>Цель</a:t>
            </a:r>
            <a:r>
              <a:rPr lang="ru-RU" sz="1000" b="1" dirty="0">
                <a:solidFill>
                  <a:srgbClr val="1F497D"/>
                </a:solidFill>
                <a:latin typeface="Arial" charset="0"/>
              </a:rPr>
              <a:t>:</a:t>
            </a:r>
            <a:r>
              <a:rPr lang="ru-RU" sz="1000" dirty="0">
                <a:solidFill>
                  <a:schemeClr val="tx1"/>
                </a:solidFill>
                <a:latin typeface="Arial" charset="0"/>
              </a:rPr>
              <a:t> </a:t>
            </a:r>
            <a:r>
              <a:rPr lang="ru-RU" sz="1000" dirty="0">
                <a:solidFill>
                  <a:srgbClr val="1F477D"/>
                </a:solidFill>
                <a:latin typeface="Arial" charset="0"/>
              </a:rPr>
              <a:t>независимая оценка профессиональных квалификаций работников атомной отрасли.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одзаголовок 2"/>
          <p:cNvSpPr txBox="1">
            <a:spLocks/>
          </p:cNvSpPr>
          <p:nvPr/>
        </p:nvSpPr>
        <p:spPr>
          <a:xfrm>
            <a:off x="223838" y="485775"/>
            <a:ext cx="7734300" cy="4016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/>
          <a:lstStyle/>
          <a:p>
            <a:pPr algn="ctr">
              <a:buFont typeface="Arial" charset="0"/>
              <a:buNone/>
              <a:defRPr/>
            </a:pPr>
            <a:r>
              <a:rPr lang="ru-RU" b="1" dirty="0">
                <a:solidFill>
                  <a:schemeClr val="bg1"/>
                </a:solidFill>
                <a:latin typeface="Arial" charset="0"/>
                <a:ea typeface="Calibri" pitchFamily="34" charset="0"/>
                <a:cs typeface="Arial" charset="0"/>
              </a:rPr>
              <a:t>Рамка квалификаций в Национальной системе квалификаций</a:t>
            </a:r>
          </a:p>
        </p:txBody>
      </p:sp>
      <p:sp>
        <p:nvSpPr>
          <p:cNvPr id="12" name="Полилиния 8"/>
          <p:cNvSpPr>
            <a:spLocks noChangeArrowheads="1"/>
          </p:cNvSpPr>
          <p:nvPr/>
        </p:nvSpPr>
        <p:spPr bwMode="auto">
          <a:xfrm>
            <a:off x="249452" y="1112941"/>
            <a:ext cx="2982706" cy="632762"/>
          </a:xfrm>
          <a:custGeom>
            <a:avLst/>
            <a:gdLst>
              <a:gd name="T0" fmla="*/ 1373858 w 2747721"/>
              <a:gd name="T1" fmla="*/ 0 h 1209184"/>
              <a:gd name="T2" fmla="*/ 2747713 w 2747721"/>
              <a:gd name="T3" fmla="*/ 604592 h 1209184"/>
              <a:gd name="T4" fmla="*/ 1373858 w 2747721"/>
              <a:gd name="T5" fmla="*/ 1209184 h 1209184"/>
              <a:gd name="T6" fmla="*/ 0 w 2747721"/>
              <a:gd name="T7" fmla="*/ 604592 h 1209184"/>
              <a:gd name="T8" fmla="*/ 0 w 2747721"/>
              <a:gd name="T9" fmla="*/ 120918 h 1209184"/>
              <a:gd name="T10" fmla="*/ 120918 w 2747721"/>
              <a:gd name="T11" fmla="*/ 0 h 1209184"/>
              <a:gd name="T12" fmla="*/ 2626795 w 2747721"/>
              <a:gd name="T13" fmla="*/ 0 h 1209184"/>
              <a:gd name="T14" fmla="*/ 2747713 w 2747721"/>
              <a:gd name="T15" fmla="*/ 120918 h 1209184"/>
              <a:gd name="T16" fmla="*/ 2747713 w 2747721"/>
              <a:gd name="T17" fmla="*/ 1088266 h 1209184"/>
              <a:gd name="T18" fmla="*/ 2626795 w 2747721"/>
              <a:gd name="T19" fmla="*/ 1209184 h 1209184"/>
              <a:gd name="T20" fmla="*/ 120918 w 2747721"/>
              <a:gd name="T21" fmla="*/ 1209184 h 1209184"/>
              <a:gd name="T22" fmla="*/ 0 w 2747721"/>
              <a:gd name="T23" fmla="*/ 1088266 h 1209184"/>
              <a:gd name="T24" fmla="*/ 0 w 2747721"/>
              <a:gd name="T25" fmla="*/ 120918 h 1209184"/>
              <a:gd name="T26" fmla="*/ 17694720 60000 65536"/>
              <a:gd name="T27" fmla="*/ 0 60000 65536"/>
              <a:gd name="T28" fmla="*/ 5898240 60000 65536"/>
              <a:gd name="T29" fmla="*/ 1179648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747721"/>
              <a:gd name="T40" fmla="*/ 0 h 1209184"/>
              <a:gd name="T41" fmla="*/ 2747721 w 2747721"/>
              <a:gd name="T42" fmla="*/ 1209184 h 1209184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747721" h="1209184">
                <a:moveTo>
                  <a:pt x="0" y="120918"/>
                </a:moveTo>
                <a:cubicBezTo>
                  <a:pt x="0" y="54137"/>
                  <a:pt x="54137" y="0"/>
                  <a:pt x="120918" y="0"/>
                </a:cubicBezTo>
                <a:lnTo>
                  <a:pt x="2626803" y="0"/>
                </a:lnTo>
                <a:cubicBezTo>
                  <a:pt x="2693585" y="0"/>
                  <a:pt x="2747721" y="54137"/>
                  <a:pt x="2747721" y="120918"/>
                </a:cubicBezTo>
                <a:lnTo>
                  <a:pt x="2747721" y="1088266"/>
                </a:lnTo>
                <a:cubicBezTo>
                  <a:pt x="2747721" y="1155047"/>
                  <a:pt x="2693585" y="1209184"/>
                  <a:pt x="2626803" y="1209184"/>
                </a:cubicBezTo>
                <a:lnTo>
                  <a:pt x="120918" y="1209184"/>
                </a:lnTo>
                <a:cubicBezTo>
                  <a:pt x="54137" y="1209184"/>
                  <a:pt x="0" y="1155047"/>
                  <a:pt x="0" y="1088266"/>
                </a:cubicBezTo>
                <a:lnTo>
                  <a:pt x="0" y="120918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2700">
            <a:solidFill>
              <a:srgbClr val="002060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1002">
            <a:schemeClr val="dk2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065" tIns="91065" rIns="91065" bIns="91065" anchor="ctr" anchorCtr="1"/>
          <a:lstStyle/>
          <a:p>
            <a:pPr algn="ctr" defTabSz="666750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ru-RU" sz="1400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работодателей к квалификациям</a:t>
            </a:r>
          </a:p>
        </p:txBody>
      </p:sp>
      <p:cxnSp>
        <p:nvCxnSpPr>
          <p:cNvPr id="13" name="Прямая со стрелкой 12"/>
          <p:cNvCxnSpPr/>
          <p:nvPr/>
        </p:nvCxnSpPr>
        <p:spPr>
          <a:xfrm>
            <a:off x="1727200" y="1754188"/>
            <a:ext cx="0" cy="2444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олилиния 12"/>
          <p:cNvSpPr>
            <a:spLocks noChangeArrowheads="1"/>
          </p:cNvSpPr>
          <p:nvPr/>
        </p:nvSpPr>
        <p:spPr bwMode="auto">
          <a:xfrm>
            <a:off x="533400" y="2008188"/>
            <a:ext cx="2400300" cy="706437"/>
          </a:xfrm>
          <a:custGeom>
            <a:avLst/>
            <a:gdLst>
              <a:gd name="T0" fmla="*/ 1069236 w 2138469"/>
              <a:gd name="T1" fmla="*/ 0 h 1157833"/>
              <a:gd name="T2" fmla="*/ 2138472 w 2138469"/>
              <a:gd name="T3" fmla="*/ 578915 h 1157833"/>
              <a:gd name="T4" fmla="*/ 1069236 w 2138469"/>
              <a:gd name="T5" fmla="*/ 1157829 h 1157833"/>
              <a:gd name="T6" fmla="*/ 0 w 2138469"/>
              <a:gd name="T7" fmla="*/ 578915 h 1157833"/>
              <a:gd name="T8" fmla="*/ 0 w 2138469"/>
              <a:gd name="T9" fmla="*/ 115783 h 1157833"/>
              <a:gd name="T10" fmla="*/ 115783 w 2138469"/>
              <a:gd name="T11" fmla="*/ 0 h 1157833"/>
              <a:gd name="T12" fmla="*/ 2022688 w 2138469"/>
              <a:gd name="T13" fmla="*/ 0 h 1157833"/>
              <a:gd name="T14" fmla="*/ 2138472 w 2138469"/>
              <a:gd name="T15" fmla="*/ 115783 h 1157833"/>
              <a:gd name="T16" fmla="*/ 2138472 w 2138469"/>
              <a:gd name="T17" fmla="*/ 1042046 h 1157833"/>
              <a:gd name="T18" fmla="*/ 2022688 w 2138469"/>
              <a:gd name="T19" fmla="*/ 1157829 h 1157833"/>
              <a:gd name="T20" fmla="*/ 115783 w 2138469"/>
              <a:gd name="T21" fmla="*/ 1157829 h 1157833"/>
              <a:gd name="T22" fmla="*/ 0 w 2138469"/>
              <a:gd name="T23" fmla="*/ 1042046 h 1157833"/>
              <a:gd name="T24" fmla="*/ 0 w 2138469"/>
              <a:gd name="T25" fmla="*/ 115783 h 1157833"/>
              <a:gd name="T26" fmla="*/ 17694720 60000 65536"/>
              <a:gd name="T27" fmla="*/ 0 60000 65536"/>
              <a:gd name="T28" fmla="*/ 5898240 60000 65536"/>
              <a:gd name="T29" fmla="*/ 1179648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138469"/>
              <a:gd name="T40" fmla="*/ 0 h 1157833"/>
              <a:gd name="T41" fmla="*/ 2138469 w 2138469"/>
              <a:gd name="T42" fmla="*/ 1157833 h 115783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138469" h="1157833">
                <a:moveTo>
                  <a:pt x="0" y="115783"/>
                </a:moveTo>
                <a:cubicBezTo>
                  <a:pt x="0" y="51838"/>
                  <a:pt x="51838" y="0"/>
                  <a:pt x="115783" y="0"/>
                </a:cubicBezTo>
                <a:lnTo>
                  <a:pt x="2022686" y="0"/>
                </a:lnTo>
                <a:cubicBezTo>
                  <a:pt x="2086631" y="0"/>
                  <a:pt x="2138469" y="51838"/>
                  <a:pt x="2138469" y="115783"/>
                </a:cubicBezTo>
                <a:lnTo>
                  <a:pt x="2138469" y="1042050"/>
                </a:lnTo>
                <a:cubicBezTo>
                  <a:pt x="2138469" y="1105995"/>
                  <a:pt x="2086631" y="1157833"/>
                  <a:pt x="2022686" y="1157833"/>
                </a:cubicBezTo>
                <a:lnTo>
                  <a:pt x="115783" y="1157833"/>
                </a:lnTo>
                <a:cubicBezTo>
                  <a:pt x="51838" y="1157833"/>
                  <a:pt x="0" y="1105995"/>
                  <a:pt x="0" y="1042050"/>
                </a:cubicBezTo>
                <a:lnTo>
                  <a:pt x="0" y="115783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solidFill>
              <a:srgbClr val="002060"/>
            </a:solidFill>
            <a:miter lim="800000"/>
            <a:headEnd/>
            <a:tailEnd/>
          </a:ln>
        </p:spPr>
        <p:txBody>
          <a:bodyPr lIns="91065" tIns="91065" rIns="91065" bIns="91065" anchor="ctr" anchorCtr="1"/>
          <a:lstStyle>
            <a:lvl1pPr defTabSz="666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666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666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666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666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66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66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66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66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ru-RU" sz="1400" dirty="0" smtClean="0">
                <a:solidFill>
                  <a:srgbClr val="1F477D"/>
                </a:solidFill>
              </a:rPr>
              <a:t>Профессиональные стандарты</a:t>
            </a:r>
            <a:endParaRPr lang="ru-RU" altLang="ru-RU" sz="1400" dirty="0">
              <a:solidFill>
                <a:srgbClr val="1F477D"/>
              </a:solidFill>
            </a:endParaRPr>
          </a:p>
        </p:txBody>
      </p:sp>
      <p:sp>
        <p:nvSpPr>
          <p:cNvPr id="276488" name="Полилиния 12"/>
          <p:cNvSpPr>
            <a:spLocks noChangeArrowheads="1"/>
          </p:cNvSpPr>
          <p:nvPr/>
        </p:nvSpPr>
        <p:spPr bwMode="auto">
          <a:xfrm>
            <a:off x="3557588" y="1082675"/>
            <a:ext cx="2700337" cy="638175"/>
          </a:xfrm>
          <a:custGeom>
            <a:avLst/>
            <a:gdLst>
              <a:gd name="T0" fmla="*/ 13916303 w 2138469"/>
              <a:gd name="T1" fmla="*/ 0 h 1157833"/>
              <a:gd name="T2" fmla="*/ 27832545 w 2138469"/>
              <a:gd name="T3" fmla="*/ 827 h 1157833"/>
              <a:gd name="T4" fmla="*/ 13916303 w 2138469"/>
              <a:gd name="T5" fmla="*/ 1654 h 1157833"/>
              <a:gd name="T6" fmla="*/ 0 w 2138469"/>
              <a:gd name="T7" fmla="*/ 827 h 1157833"/>
              <a:gd name="T8" fmla="*/ 0 w 2138469"/>
              <a:gd name="T9" fmla="*/ 165 h 1157833"/>
              <a:gd name="T10" fmla="*/ 1506941 w 2138469"/>
              <a:gd name="T11" fmla="*/ 0 h 1157833"/>
              <a:gd name="T12" fmla="*/ 26325638 w 2138469"/>
              <a:gd name="T13" fmla="*/ 0 h 1157833"/>
              <a:gd name="T14" fmla="*/ 27832545 w 2138469"/>
              <a:gd name="T15" fmla="*/ 165 h 1157833"/>
              <a:gd name="T16" fmla="*/ 27832545 w 2138469"/>
              <a:gd name="T17" fmla="*/ 1488 h 1157833"/>
              <a:gd name="T18" fmla="*/ 26325638 w 2138469"/>
              <a:gd name="T19" fmla="*/ 1654 h 1157833"/>
              <a:gd name="T20" fmla="*/ 1506941 w 2138469"/>
              <a:gd name="T21" fmla="*/ 1654 h 1157833"/>
              <a:gd name="T22" fmla="*/ 0 w 2138469"/>
              <a:gd name="T23" fmla="*/ 1488 h 1157833"/>
              <a:gd name="T24" fmla="*/ 0 w 2138469"/>
              <a:gd name="T25" fmla="*/ 165 h 1157833"/>
              <a:gd name="T26" fmla="*/ 17694720 60000 65536"/>
              <a:gd name="T27" fmla="*/ 0 60000 65536"/>
              <a:gd name="T28" fmla="*/ 5898240 60000 65536"/>
              <a:gd name="T29" fmla="*/ 1179648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138469"/>
              <a:gd name="T40" fmla="*/ 0 h 1157833"/>
              <a:gd name="T41" fmla="*/ 2138469 w 2138469"/>
              <a:gd name="T42" fmla="*/ 1157833 h 115783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138469" h="1157833">
                <a:moveTo>
                  <a:pt x="0" y="115783"/>
                </a:moveTo>
                <a:cubicBezTo>
                  <a:pt x="0" y="51838"/>
                  <a:pt x="51838" y="0"/>
                  <a:pt x="115783" y="0"/>
                </a:cubicBezTo>
                <a:lnTo>
                  <a:pt x="2022686" y="0"/>
                </a:lnTo>
                <a:cubicBezTo>
                  <a:pt x="2086631" y="0"/>
                  <a:pt x="2138469" y="51838"/>
                  <a:pt x="2138469" y="115783"/>
                </a:cubicBezTo>
                <a:lnTo>
                  <a:pt x="2138469" y="1042050"/>
                </a:lnTo>
                <a:cubicBezTo>
                  <a:pt x="2138469" y="1105995"/>
                  <a:pt x="2086631" y="1157833"/>
                  <a:pt x="2022686" y="1157833"/>
                </a:cubicBezTo>
                <a:lnTo>
                  <a:pt x="115783" y="1157833"/>
                </a:lnTo>
                <a:cubicBezTo>
                  <a:pt x="51838" y="1157833"/>
                  <a:pt x="0" y="1105995"/>
                  <a:pt x="0" y="1042050"/>
                </a:cubicBezTo>
                <a:lnTo>
                  <a:pt x="0" y="115783"/>
                </a:lnTo>
                <a:close/>
              </a:path>
            </a:pathLst>
          </a:custGeom>
          <a:solidFill>
            <a:srgbClr val="DEC7EF"/>
          </a:solidFill>
          <a:ln w="12700">
            <a:solidFill>
              <a:srgbClr val="002060"/>
            </a:solidFill>
            <a:miter lim="800000"/>
            <a:headEnd/>
            <a:tailEnd/>
          </a:ln>
        </p:spPr>
        <p:txBody>
          <a:bodyPr lIns="91065" tIns="91065" rIns="91065" bIns="91065" anchor="ctr" anchorCtr="1"/>
          <a:lstStyle/>
          <a:p>
            <a:pPr algn="ctr" defTabSz="666750">
              <a:lnSpc>
                <a:spcPct val="90000"/>
              </a:lnSpc>
              <a:spcAft>
                <a:spcPts val="600"/>
              </a:spcAft>
            </a:pPr>
            <a:r>
              <a:rPr lang="ru-RU" altLang="ru-RU" sz="1400" b="1">
                <a:solidFill>
                  <a:srgbClr val="1F477D"/>
                </a:solidFill>
                <a:latin typeface="Arial" charset="0"/>
                <a:cs typeface="Arial" charset="0"/>
              </a:rPr>
              <a:t>Национальная рамка квалификаций</a:t>
            </a:r>
          </a:p>
        </p:txBody>
      </p:sp>
      <p:sp>
        <p:nvSpPr>
          <p:cNvPr id="276489" name="Полилиния 12"/>
          <p:cNvSpPr>
            <a:spLocks noChangeArrowheads="1"/>
          </p:cNvSpPr>
          <p:nvPr/>
        </p:nvSpPr>
        <p:spPr bwMode="auto">
          <a:xfrm>
            <a:off x="4302125" y="1660525"/>
            <a:ext cx="2217738" cy="638175"/>
          </a:xfrm>
          <a:custGeom>
            <a:avLst/>
            <a:gdLst>
              <a:gd name="T0" fmla="*/ 1596127 w 2138469"/>
              <a:gd name="T1" fmla="*/ 0 h 1157833"/>
              <a:gd name="T2" fmla="*/ 3192248 w 2138469"/>
              <a:gd name="T3" fmla="*/ 826 h 1157833"/>
              <a:gd name="T4" fmla="*/ 1596127 w 2138469"/>
              <a:gd name="T5" fmla="*/ 1652 h 1157833"/>
              <a:gd name="T6" fmla="*/ 0 w 2138469"/>
              <a:gd name="T7" fmla="*/ 826 h 1157833"/>
              <a:gd name="T8" fmla="*/ 0 w 2138469"/>
              <a:gd name="T9" fmla="*/ 165 h 1157833"/>
              <a:gd name="T10" fmla="*/ 172838 w 2138469"/>
              <a:gd name="T11" fmla="*/ 0 h 1157833"/>
              <a:gd name="T12" fmla="*/ 3019408 w 2138469"/>
              <a:gd name="T13" fmla="*/ 0 h 1157833"/>
              <a:gd name="T14" fmla="*/ 3192248 w 2138469"/>
              <a:gd name="T15" fmla="*/ 165 h 1157833"/>
              <a:gd name="T16" fmla="*/ 3192248 w 2138469"/>
              <a:gd name="T17" fmla="*/ 1487 h 1157833"/>
              <a:gd name="T18" fmla="*/ 3019408 w 2138469"/>
              <a:gd name="T19" fmla="*/ 1652 h 1157833"/>
              <a:gd name="T20" fmla="*/ 172838 w 2138469"/>
              <a:gd name="T21" fmla="*/ 1652 h 1157833"/>
              <a:gd name="T22" fmla="*/ 0 w 2138469"/>
              <a:gd name="T23" fmla="*/ 1487 h 1157833"/>
              <a:gd name="T24" fmla="*/ 0 w 2138469"/>
              <a:gd name="T25" fmla="*/ 165 h 1157833"/>
              <a:gd name="T26" fmla="*/ 17694720 60000 65536"/>
              <a:gd name="T27" fmla="*/ 0 60000 65536"/>
              <a:gd name="T28" fmla="*/ 5898240 60000 65536"/>
              <a:gd name="T29" fmla="*/ 1179648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138469"/>
              <a:gd name="T40" fmla="*/ 0 h 1157833"/>
              <a:gd name="T41" fmla="*/ 2138469 w 2138469"/>
              <a:gd name="T42" fmla="*/ 1157833 h 115783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138469" h="1157833">
                <a:moveTo>
                  <a:pt x="0" y="115783"/>
                </a:moveTo>
                <a:cubicBezTo>
                  <a:pt x="0" y="51838"/>
                  <a:pt x="51838" y="0"/>
                  <a:pt x="115783" y="0"/>
                </a:cubicBezTo>
                <a:lnTo>
                  <a:pt x="2022686" y="0"/>
                </a:lnTo>
                <a:cubicBezTo>
                  <a:pt x="2086631" y="0"/>
                  <a:pt x="2138469" y="51838"/>
                  <a:pt x="2138469" y="115783"/>
                </a:cubicBezTo>
                <a:lnTo>
                  <a:pt x="2138469" y="1042050"/>
                </a:lnTo>
                <a:cubicBezTo>
                  <a:pt x="2138469" y="1105995"/>
                  <a:pt x="2086631" y="1157833"/>
                  <a:pt x="2022686" y="1157833"/>
                </a:cubicBezTo>
                <a:lnTo>
                  <a:pt x="115783" y="1157833"/>
                </a:lnTo>
                <a:cubicBezTo>
                  <a:pt x="51838" y="1157833"/>
                  <a:pt x="0" y="1105995"/>
                  <a:pt x="0" y="1042050"/>
                </a:cubicBezTo>
                <a:lnTo>
                  <a:pt x="0" y="115783"/>
                </a:lnTo>
                <a:close/>
              </a:path>
            </a:pathLst>
          </a:custGeom>
          <a:solidFill>
            <a:srgbClr val="DEC7EF"/>
          </a:solidFill>
          <a:ln w="28575">
            <a:solidFill>
              <a:srgbClr val="002060"/>
            </a:solidFill>
            <a:miter lim="800000"/>
            <a:headEnd/>
            <a:tailEnd/>
          </a:ln>
        </p:spPr>
        <p:txBody>
          <a:bodyPr lIns="91065" tIns="91065" rIns="91065" bIns="91065" anchor="ctr" anchorCtr="1"/>
          <a:lstStyle/>
          <a:p>
            <a:pPr algn="ctr" defTabSz="666750">
              <a:lnSpc>
                <a:spcPct val="90000"/>
              </a:lnSpc>
              <a:spcAft>
                <a:spcPts val="600"/>
              </a:spcAft>
            </a:pPr>
            <a:r>
              <a:rPr lang="ru-RU" altLang="ru-RU" sz="1400" b="1">
                <a:solidFill>
                  <a:srgbClr val="1F477D"/>
                </a:solidFill>
                <a:latin typeface="Arial" charset="0"/>
                <a:cs typeface="Arial" charset="0"/>
              </a:rPr>
              <a:t>Отраслевая рамка квалификаций</a:t>
            </a:r>
          </a:p>
        </p:txBody>
      </p:sp>
      <p:sp>
        <p:nvSpPr>
          <p:cNvPr id="276490" name="Полилиния 12"/>
          <p:cNvSpPr>
            <a:spLocks noChangeArrowheads="1"/>
          </p:cNvSpPr>
          <p:nvPr/>
        </p:nvSpPr>
        <p:spPr bwMode="auto">
          <a:xfrm>
            <a:off x="4986338" y="2859088"/>
            <a:ext cx="3548062" cy="633412"/>
          </a:xfrm>
          <a:custGeom>
            <a:avLst/>
            <a:gdLst>
              <a:gd name="T0" fmla="*/ 280496775 w 2138469"/>
              <a:gd name="T1" fmla="*/ 0 h 1157833"/>
              <a:gd name="T2" fmla="*/ 560993551 w 2138469"/>
              <a:gd name="T3" fmla="*/ 759 h 1157833"/>
              <a:gd name="T4" fmla="*/ 280496775 w 2138469"/>
              <a:gd name="T5" fmla="*/ 1519 h 1157833"/>
              <a:gd name="T6" fmla="*/ 0 w 2138469"/>
              <a:gd name="T7" fmla="*/ 759 h 1157833"/>
              <a:gd name="T8" fmla="*/ 0 w 2138469"/>
              <a:gd name="T9" fmla="*/ 152 h 1157833"/>
              <a:gd name="T10" fmla="*/ 30373736 w 2138469"/>
              <a:gd name="T11" fmla="*/ 0 h 1157833"/>
              <a:gd name="T12" fmla="*/ 530619191 w 2138469"/>
              <a:gd name="T13" fmla="*/ 0 h 1157833"/>
              <a:gd name="T14" fmla="*/ 560993551 w 2138469"/>
              <a:gd name="T15" fmla="*/ 152 h 1157833"/>
              <a:gd name="T16" fmla="*/ 560993551 w 2138469"/>
              <a:gd name="T17" fmla="*/ 1368 h 1157833"/>
              <a:gd name="T18" fmla="*/ 530619191 w 2138469"/>
              <a:gd name="T19" fmla="*/ 1519 h 1157833"/>
              <a:gd name="T20" fmla="*/ 30373736 w 2138469"/>
              <a:gd name="T21" fmla="*/ 1519 h 1157833"/>
              <a:gd name="T22" fmla="*/ 0 w 2138469"/>
              <a:gd name="T23" fmla="*/ 1368 h 1157833"/>
              <a:gd name="T24" fmla="*/ 0 w 2138469"/>
              <a:gd name="T25" fmla="*/ 152 h 1157833"/>
              <a:gd name="T26" fmla="*/ 17694720 60000 65536"/>
              <a:gd name="T27" fmla="*/ 0 60000 65536"/>
              <a:gd name="T28" fmla="*/ 5898240 60000 65536"/>
              <a:gd name="T29" fmla="*/ 1179648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138469"/>
              <a:gd name="T40" fmla="*/ 0 h 1157833"/>
              <a:gd name="T41" fmla="*/ 2138469 w 2138469"/>
              <a:gd name="T42" fmla="*/ 1157833 h 115783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138469" h="1157833">
                <a:moveTo>
                  <a:pt x="0" y="115783"/>
                </a:moveTo>
                <a:cubicBezTo>
                  <a:pt x="0" y="51838"/>
                  <a:pt x="51838" y="0"/>
                  <a:pt x="115783" y="0"/>
                </a:cubicBezTo>
                <a:lnTo>
                  <a:pt x="2022686" y="0"/>
                </a:lnTo>
                <a:cubicBezTo>
                  <a:pt x="2086631" y="0"/>
                  <a:pt x="2138469" y="51838"/>
                  <a:pt x="2138469" y="115783"/>
                </a:cubicBezTo>
                <a:lnTo>
                  <a:pt x="2138469" y="1042050"/>
                </a:lnTo>
                <a:cubicBezTo>
                  <a:pt x="2138469" y="1105995"/>
                  <a:pt x="2086631" y="1157833"/>
                  <a:pt x="2022686" y="1157833"/>
                </a:cubicBezTo>
                <a:lnTo>
                  <a:pt x="115783" y="1157833"/>
                </a:lnTo>
                <a:cubicBezTo>
                  <a:pt x="51838" y="1157833"/>
                  <a:pt x="0" y="1105995"/>
                  <a:pt x="0" y="1042050"/>
                </a:cubicBezTo>
                <a:lnTo>
                  <a:pt x="0" y="115783"/>
                </a:lnTo>
                <a:close/>
              </a:path>
            </a:pathLst>
          </a:custGeom>
          <a:solidFill>
            <a:srgbClr val="FDD7AB"/>
          </a:solidFill>
          <a:ln w="12700">
            <a:solidFill>
              <a:srgbClr val="002060"/>
            </a:solidFill>
            <a:miter lim="800000"/>
            <a:headEnd/>
            <a:tailEnd/>
          </a:ln>
        </p:spPr>
        <p:txBody>
          <a:bodyPr lIns="91065" tIns="91065" rIns="91065" bIns="91065" anchor="ctr" anchorCtr="1"/>
          <a:lstStyle/>
          <a:p>
            <a:pPr algn="ctr" defTabSz="666750">
              <a:lnSpc>
                <a:spcPct val="90000"/>
              </a:lnSpc>
              <a:spcAft>
                <a:spcPts val="600"/>
              </a:spcAft>
            </a:pPr>
            <a:r>
              <a:rPr lang="ru-RU" altLang="ru-RU" sz="1400">
                <a:solidFill>
                  <a:srgbClr val="1F477D"/>
                </a:solidFill>
                <a:latin typeface="Arial" charset="0"/>
                <a:cs typeface="Arial" charset="0"/>
              </a:rPr>
              <a:t>Образовательные стандарты</a:t>
            </a:r>
          </a:p>
        </p:txBody>
      </p:sp>
      <p:sp>
        <p:nvSpPr>
          <p:cNvPr id="276491" name="Полилиния 23"/>
          <p:cNvSpPr>
            <a:spLocks noChangeArrowheads="1"/>
          </p:cNvSpPr>
          <p:nvPr/>
        </p:nvSpPr>
        <p:spPr bwMode="auto">
          <a:xfrm>
            <a:off x="6650038" y="3360738"/>
            <a:ext cx="2413000" cy="633412"/>
          </a:xfrm>
          <a:custGeom>
            <a:avLst/>
            <a:gdLst>
              <a:gd name="T0" fmla="*/ 4037074 w 2138469"/>
              <a:gd name="T1" fmla="*/ 0 h 1157833"/>
              <a:gd name="T2" fmla="*/ 8074143 w 2138469"/>
              <a:gd name="T3" fmla="*/ 759 h 1157833"/>
              <a:gd name="T4" fmla="*/ 4037074 w 2138469"/>
              <a:gd name="T5" fmla="*/ 1519 h 1157833"/>
              <a:gd name="T6" fmla="*/ 0 w 2138469"/>
              <a:gd name="T7" fmla="*/ 759 h 1157833"/>
              <a:gd name="T8" fmla="*/ 0 w 2138469"/>
              <a:gd name="T9" fmla="*/ 152 h 1157833"/>
              <a:gd name="T10" fmla="*/ 437158 w 2138469"/>
              <a:gd name="T11" fmla="*/ 0 h 1157833"/>
              <a:gd name="T12" fmla="*/ 7636987 w 2138469"/>
              <a:gd name="T13" fmla="*/ 0 h 1157833"/>
              <a:gd name="T14" fmla="*/ 8074143 w 2138469"/>
              <a:gd name="T15" fmla="*/ 152 h 1157833"/>
              <a:gd name="T16" fmla="*/ 8074143 w 2138469"/>
              <a:gd name="T17" fmla="*/ 1368 h 1157833"/>
              <a:gd name="T18" fmla="*/ 7636987 w 2138469"/>
              <a:gd name="T19" fmla="*/ 1519 h 1157833"/>
              <a:gd name="T20" fmla="*/ 437158 w 2138469"/>
              <a:gd name="T21" fmla="*/ 1519 h 1157833"/>
              <a:gd name="T22" fmla="*/ 0 w 2138469"/>
              <a:gd name="T23" fmla="*/ 1368 h 1157833"/>
              <a:gd name="T24" fmla="*/ 0 w 2138469"/>
              <a:gd name="T25" fmla="*/ 152 h 1157833"/>
              <a:gd name="T26" fmla="*/ 17694720 60000 65536"/>
              <a:gd name="T27" fmla="*/ 0 60000 65536"/>
              <a:gd name="T28" fmla="*/ 5898240 60000 65536"/>
              <a:gd name="T29" fmla="*/ 1179648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138469"/>
              <a:gd name="T40" fmla="*/ 0 h 1157833"/>
              <a:gd name="T41" fmla="*/ 2138469 w 2138469"/>
              <a:gd name="T42" fmla="*/ 1157833 h 115783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138469" h="1157833">
                <a:moveTo>
                  <a:pt x="0" y="115783"/>
                </a:moveTo>
                <a:cubicBezTo>
                  <a:pt x="0" y="51838"/>
                  <a:pt x="51838" y="0"/>
                  <a:pt x="115783" y="0"/>
                </a:cubicBezTo>
                <a:lnTo>
                  <a:pt x="2022686" y="0"/>
                </a:lnTo>
                <a:cubicBezTo>
                  <a:pt x="2086631" y="0"/>
                  <a:pt x="2138469" y="51838"/>
                  <a:pt x="2138469" y="115783"/>
                </a:cubicBezTo>
                <a:lnTo>
                  <a:pt x="2138469" y="1042050"/>
                </a:lnTo>
                <a:cubicBezTo>
                  <a:pt x="2138469" y="1105995"/>
                  <a:pt x="2086631" y="1157833"/>
                  <a:pt x="2022686" y="1157833"/>
                </a:cubicBezTo>
                <a:lnTo>
                  <a:pt x="115783" y="1157833"/>
                </a:lnTo>
                <a:cubicBezTo>
                  <a:pt x="51838" y="1157833"/>
                  <a:pt x="0" y="1105995"/>
                  <a:pt x="0" y="1042050"/>
                </a:cubicBezTo>
                <a:lnTo>
                  <a:pt x="0" y="115783"/>
                </a:lnTo>
                <a:close/>
              </a:path>
            </a:pathLst>
          </a:custGeom>
          <a:solidFill>
            <a:srgbClr val="FDD7AB"/>
          </a:solidFill>
          <a:ln w="12700">
            <a:solidFill>
              <a:srgbClr val="002060"/>
            </a:solidFill>
            <a:miter lim="800000"/>
            <a:headEnd/>
            <a:tailEnd/>
          </a:ln>
        </p:spPr>
        <p:txBody>
          <a:bodyPr lIns="91065" tIns="91065" rIns="91065" bIns="91065" anchor="ctr" anchorCtr="1"/>
          <a:lstStyle/>
          <a:p>
            <a:pPr algn="ctr" defTabSz="666750">
              <a:lnSpc>
                <a:spcPct val="90000"/>
              </a:lnSpc>
              <a:spcAft>
                <a:spcPts val="600"/>
              </a:spcAft>
            </a:pPr>
            <a:r>
              <a:rPr lang="ru-RU" altLang="ru-RU" sz="1400">
                <a:solidFill>
                  <a:srgbClr val="1F477D"/>
                </a:solidFill>
                <a:latin typeface="Arial" charset="0"/>
                <a:cs typeface="Arial" charset="0"/>
              </a:rPr>
              <a:t>Образовательные программы</a:t>
            </a:r>
          </a:p>
        </p:txBody>
      </p:sp>
      <p:sp>
        <p:nvSpPr>
          <p:cNvPr id="26" name="Полилиния 14"/>
          <p:cNvSpPr>
            <a:spLocks noChangeArrowheads="1"/>
          </p:cNvSpPr>
          <p:nvPr/>
        </p:nvSpPr>
        <p:spPr bwMode="auto">
          <a:xfrm>
            <a:off x="6877050" y="1657350"/>
            <a:ext cx="2143125" cy="644525"/>
          </a:xfrm>
          <a:custGeom>
            <a:avLst/>
            <a:gdLst>
              <a:gd name="T0" fmla="*/ 1176771 w 2353551"/>
              <a:gd name="T1" fmla="*/ 0 h 1073426"/>
              <a:gd name="T2" fmla="*/ 2353542 w 2353551"/>
              <a:gd name="T3" fmla="*/ 536711 h 1073426"/>
              <a:gd name="T4" fmla="*/ 1176771 w 2353551"/>
              <a:gd name="T5" fmla="*/ 1073420 h 1073426"/>
              <a:gd name="T6" fmla="*/ 0 w 2353551"/>
              <a:gd name="T7" fmla="*/ 536711 h 1073426"/>
              <a:gd name="T8" fmla="*/ 0 w 2353551"/>
              <a:gd name="T9" fmla="*/ 107343 h 1073426"/>
              <a:gd name="T10" fmla="*/ 107343 w 2353551"/>
              <a:gd name="T11" fmla="*/ 0 h 1073426"/>
              <a:gd name="T12" fmla="*/ 2246200 w 2353551"/>
              <a:gd name="T13" fmla="*/ 0 h 1073426"/>
              <a:gd name="T14" fmla="*/ 2353542 w 2353551"/>
              <a:gd name="T15" fmla="*/ 107343 h 1073426"/>
              <a:gd name="T16" fmla="*/ 2353542 w 2353551"/>
              <a:gd name="T17" fmla="*/ 966077 h 1073426"/>
              <a:gd name="T18" fmla="*/ 2246200 w 2353551"/>
              <a:gd name="T19" fmla="*/ 1073420 h 1073426"/>
              <a:gd name="T20" fmla="*/ 107343 w 2353551"/>
              <a:gd name="T21" fmla="*/ 1073420 h 1073426"/>
              <a:gd name="T22" fmla="*/ 0 w 2353551"/>
              <a:gd name="T23" fmla="*/ 966077 h 1073426"/>
              <a:gd name="T24" fmla="*/ 0 w 2353551"/>
              <a:gd name="T25" fmla="*/ 107343 h 1073426"/>
              <a:gd name="T26" fmla="*/ 17694720 60000 65536"/>
              <a:gd name="T27" fmla="*/ 0 60000 65536"/>
              <a:gd name="T28" fmla="*/ 5898240 60000 65536"/>
              <a:gd name="T29" fmla="*/ 1179648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353551"/>
              <a:gd name="T40" fmla="*/ 0 h 1073426"/>
              <a:gd name="T41" fmla="*/ 2353551 w 2353551"/>
              <a:gd name="T42" fmla="*/ 1073426 h 107342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353551" h="1073426">
                <a:moveTo>
                  <a:pt x="0" y="107343"/>
                </a:moveTo>
                <a:cubicBezTo>
                  <a:pt x="0" y="48059"/>
                  <a:pt x="48059" y="0"/>
                  <a:pt x="107343" y="0"/>
                </a:cubicBezTo>
                <a:lnTo>
                  <a:pt x="2246209" y="0"/>
                </a:lnTo>
                <a:cubicBezTo>
                  <a:pt x="2305493" y="0"/>
                  <a:pt x="2353551" y="48059"/>
                  <a:pt x="2353551" y="107343"/>
                </a:cubicBezTo>
                <a:lnTo>
                  <a:pt x="2353551" y="966083"/>
                </a:lnTo>
                <a:cubicBezTo>
                  <a:pt x="2353551" y="1025367"/>
                  <a:pt x="2305493" y="1073426"/>
                  <a:pt x="2246209" y="1073426"/>
                </a:cubicBezTo>
                <a:lnTo>
                  <a:pt x="107343" y="1073426"/>
                </a:lnTo>
                <a:cubicBezTo>
                  <a:pt x="48059" y="1073426"/>
                  <a:pt x="0" y="1025367"/>
                  <a:pt x="0" y="966083"/>
                </a:cubicBezTo>
                <a:lnTo>
                  <a:pt x="0" y="107343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solidFill>
              <a:srgbClr val="002060"/>
            </a:solidFill>
            <a:miter lim="800000"/>
            <a:headEnd/>
            <a:tailEnd/>
          </a:ln>
        </p:spPr>
        <p:txBody>
          <a:bodyPr lIns="88587" tIns="88587" rIns="88587" bIns="88587" anchor="ctr" anchorCtr="1"/>
          <a:lstStyle>
            <a:lvl1pPr defTabSz="666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666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666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666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666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66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66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66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66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ru-RU" sz="1400" dirty="0" smtClean="0">
                <a:solidFill>
                  <a:srgbClr val="1F477D"/>
                </a:solidFill>
              </a:rPr>
              <a:t>Профессионально-общественная аккредитация</a:t>
            </a:r>
            <a:endParaRPr lang="ru-RU" altLang="ru-RU" sz="1400" dirty="0">
              <a:solidFill>
                <a:srgbClr val="1F477D"/>
              </a:solidFill>
            </a:endParaRPr>
          </a:p>
        </p:txBody>
      </p:sp>
      <p:sp>
        <p:nvSpPr>
          <p:cNvPr id="29" name="Полилиния 12"/>
          <p:cNvSpPr>
            <a:spLocks noChangeArrowheads="1"/>
          </p:cNvSpPr>
          <p:nvPr/>
        </p:nvSpPr>
        <p:spPr bwMode="auto">
          <a:xfrm>
            <a:off x="5075755" y="4833783"/>
            <a:ext cx="2285025" cy="475635"/>
          </a:xfrm>
          <a:custGeom>
            <a:avLst/>
            <a:gdLst>
              <a:gd name="T0" fmla="*/ 1069236 w 2138469"/>
              <a:gd name="T1" fmla="*/ 0 h 1157833"/>
              <a:gd name="T2" fmla="*/ 2138472 w 2138469"/>
              <a:gd name="T3" fmla="*/ 578915 h 1157833"/>
              <a:gd name="T4" fmla="*/ 1069236 w 2138469"/>
              <a:gd name="T5" fmla="*/ 1157829 h 1157833"/>
              <a:gd name="T6" fmla="*/ 0 w 2138469"/>
              <a:gd name="T7" fmla="*/ 578915 h 1157833"/>
              <a:gd name="T8" fmla="*/ 0 w 2138469"/>
              <a:gd name="T9" fmla="*/ 115783 h 1157833"/>
              <a:gd name="T10" fmla="*/ 115783 w 2138469"/>
              <a:gd name="T11" fmla="*/ 0 h 1157833"/>
              <a:gd name="T12" fmla="*/ 2022688 w 2138469"/>
              <a:gd name="T13" fmla="*/ 0 h 1157833"/>
              <a:gd name="T14" fmla="*/ 2138472 w 2138469"/>
              <a:gd name="T15" fmla="*/ 115783 h 1157833"/>
              <a:gd name="T16" fmla="*/ 2138472 w 2138469"/>
              <a:gd name="T17" fmla="*/ 1042046 h 1157833"/>
              <a:gd name="T18" fmla="*/ 2022688 w 2138469"/>
              <a:gd name="T19" fmla="*/ 1157829 h 1157833"/>
              <a:gd name="T20" fmla="*/ 115783 w 2138469"/>
              <a:gd name="T21" fmla="*/ 1157829 h 1157833"/>
              <a:gd name="T22" fmla="*/ 0 w 2138469"/>
              <a:gd name="T23" fmla="*/ 1042046 h 1157833"/>
              <a:gd name="T24" fmla="*/ 0 w 2138469"/>
              <a:gd name="T25" fmla="*/ 115783 h 1157833"/>
              <a:gd name="T26" fmla="*/ 17694720 60000 65536"/>
              <a:gd name="T27" fmla="*/ 0 60000 65536"/>
              <a:gd name="T28" fmla="*/ 5898240 60000 65536"/>
              <a:gd name="T29" fmla="*/ 1179648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138469"/>
              <a:gd name="T40" fmla="*/ 0 h 1157833"/>
              <a:gd name="T41" fmla="*/ 2138469 w 2138469"/>
              <a:gd name="T42" fmla="*/ 1157833 h 115783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138469" h="1157833">
                <a:moveTo>
                  <a:pt x="0" y="115783"/>
                </a:moveTo>
                <a:cubicBezTo>
                  <a:pt x="0" y="51838"/>
                  <a:pt x="51838" y="0"/>
                  <a:pt x="115783" y="0"/>
                </a:cubicBezTo>
                <a:lnTo>
                  <a:pt x="2022686" y="0"/>
                </a:lnTo>
                <a:cubicBezTo>
                  <a:pt x="2086631" y="0"/>
                  <a:pt x="2138469" y="51838"/>
                  <a:pt x="2138469" y="115783"/>
                </a:cubicBezTo>
                <a:lnTo>
                  <a:pt x="2138469" y="1042050"/>
                </a:lnTo>
                <a:cubicBezTo>
                  <a:pt x="2138469" y="1105995"/>
                  <a:pt x="2086631" y="1157833"/>
                  <a:pt x="2022686" y="1157833"/>
                </a:cubicBezTo>
                <a:lnTo>
                  <a:pt x="115783" y="1157833"/>
                </a:lnTo>
                <a:cubicBezTo>
                  <a:pt x="51838" y="1157833"/>
                  <a:pt x="0" y="1105995"/>
                  <a:pt x="0" y="1042050"/>
                </a:cubicBezTo>
                <a:lnTo>
                  <a:pt x="0" y="115783"/>
                </a:lnTo>
                <a:close/>
              </a:path>
            </a:pathLst>
          </a:custGeom>
          <a:solidFill>
            <a:srgbClr val="BFDCBA"/>
          </a:solidFill>
          <a:ln w="12700">
            <a:solidFill>
              <a:srgbClr val="002060"/>
            </a:solidFill>
            <a:headEnd/>
            <a:tailEnd/>
          </a:ln>
          <a:effectLst/>
        </p:spPr>
        <p:style>
          <a:lnRef idx="0">
            <a:schemeClr val="accent1"/>
          </a:lnRef>
          <a:fillRef idx="1002">
            <a:schemeClr val="dk2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065" tIns="91065" rIns="91065" bIns="91065" anchor="ctr" anchorCtr="1"/>
          <a:lstStyle/>
          <a:p>
            <a:pPr algn="ctr" defTabSz="666750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ru-RU" sz="1300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выпускников вузов/</a:t>
            </a:r>
            <a:r>
              <a:rPr lang="ru-RU" altLang="ru-RU" sz="1300" dirty="0" err="1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сузов</a:t>
            </a:r>
            <a:endParaRPr lang="ru-RU" altLang="ru-RU" sz="1300" dirty="0">
              <a:solidFill>
                <a:srgbClr val="1F47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олилиния 12"/>
          <p:cNvSpPr>
            <a:spLocks noChangeArrowheads="1"/>
          </p:cNvSpPr>
          <p:nvPr/>
        </p:nvSpPr>
        <p:spPr bwMode="auto">
          <a:xfrm>
            <a:off x="5086640" y="4275643"/>
            <a:ext cx="2288383" cy="472256"/>
          </a:xfrm>
          <a:custGeom>
            <a:avLst/>
            <a:gdLst>
              <a:gd name="T0" fmla="*/ 1069236 w 2138469"/>
              <a:gd name="T1" fmla="*/ 0 h 1157833"/>
              <a:gd name="T2" fmla="*/ 2138472 w 2138469"/>
              <a:gd name="T3" fmla="*/ 578915 h 1157833"/>
              <a:gd name="T4" fmla="*/ 1069236 w 2138469"/>
              <a:gd name="T5" fmla="*/ 1157829 h 1157833"/>
              <a:gd name="T6" fmla="*/ 0 w 2138469"/>
              <a:gd name="T7" fmla="*/ 578915 h 1157833"/>
              <a:gd name="T8" fmla="*/ 0 w 2138469"/>
              <a:gd name="T9" fmla="*/ 115783 h 1157833"/>
              <a:gd name="T10" fmla="*/ 115783 w 2138469"/>
              <a:gd name="T11" fmla="*/ 0 h 1157833"/>
              <a:gd name="T12" fmla="*/ 2022688 w 2138469"/>
              <a:gd name="T13" fmla="*/ 0 h 1157833"/>
              <a:gd name="T14" fmla="*/ 2138472 w 2138469"/>
              <a:gd name="T15" fmla="*/ 115783 h 1157833"/>
              <a:gd name="T16" fmla="*/ 2138472 w 2138469"/>
              <a:gd name="T17" fmla="*/ 1042046 h 1157833"/>
              <a:gd name="T18" fmla="*/ 2022688 w 2138469"/>
              <a:gd name="T19" fmla="*/ 1157829 h 1157833"/>
              <a:gd name="T20" fmla="*/ 115783 w 2138469"/>
              <a:gd name="T21" fmla="*/ 1157829 h 1157833"/>
              <a:gd name="T22" fmla="*/ 0 w 2138469"/>
              <a:gd name="T23" fmla="*/ 1042046 h 1157833"/>
              <a:gd name="T24" fmla="*/ 0 w 2138469"/>
              <a:gd name="T25" fmla="*/ 115783 h 1157833"/>
              <a:gd name="T26" fmla="*/ 17694720 60000 65536"/>
              <a:gd name="T27" fmla="*/ 0 60000 65536"/>
              <a:gd name="T28" fmla="*/ 5898240 60000 65536"/>
              <a:gd name="T29" fmla="*/ 1179648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138469"/>
              <a:gd name="T40" fmla="*/ 0 h 1157833"/>
              <a:gd name="T41" fmla="*/ 2138469 w 2138469"/>
              <a:gd name="T42" fmla="*/ 1157833 h 115783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138469" h="1157833">
                <a:moveTo>
                  <a:pt x="0" y="115783"/>
                </a:moveTo>
                <a:cubicBezTo>
                  <a:pt x="0" y="51838"/>
                  <a:pt x="51838" y="0"/>
                  <a:pt x="115783" y="0"/>
                </a:cubicBezTo>
                <a:lnTo>
                  <a:pt x="2022686" y="0"/>
                </a:lnTo>
                <a:cubicBezTo>
                  <a:pt x="2086631" y="0"/>
                  <a:pt x="2138469" y="51838"/>
                  <a:pt x="2138469" y="115783"/>
                </a:cubicBezTo>
                <a:lnTo>
                  <a:pt x="2138469" y="1042050"/>
                </a:lnTo>
                <a:cubicBezTo>
                  <a:pt x="2138469" y="1105995"/>
                  <a:pt x="2086631" y="1157833"/>
                  <a:pt x="2022686" y="1157833"/>
                </a:cubicBezTo>
                <a:lnTo>
                  <a:pt x="115783" y="1157833"/>
                </a:lnTo>
                <a:cubicBezTo>
                  <a:pt x="51838" y="1157833"/>
                  <a:pt x="0" y="1105995"/>
                  <a:pt x="0" y="1042050"/>
                </a:cubicBezTo>
                <a:lnTo>
                  <a:pt x="0" y="115783"/>
                </a:lnTo>
                <a:close/>
              </a:path>
            </a:pathLst>
          </a:custGeom>
          <a:solidFill>
            <a:srgbClr val="BFDCBA"/>
          </a:solidFill>
          <a:ln w="12700">
            <a:solidFill>
              <a:srgbClr val="002060"/>
            </a:solidFill>
            <a:headEnd/>
            <a:tailEnd/>
          </a:ln>
          <a:effectLst/>
        </p:spPr>
        <p:style>
          <a:lnRef idx="0">
            <a:schemeClr val="accent1"/>
          </a:lnRef>
          <a:fillRef idx="1002">
            <a:schemeClr val="dk2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065" tIns="91065" rIns="91065" bIns="91065" anchor="ctr" anchorCtr="1"/>
          <a:lstStyle/>
          <a:p>
            <a:pPr algn="ctr" defTabSz="666750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ru-RU" sz="1300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квалификации работников</a:t>
            </a:r>
          </a:p>
        </p:txBody>
      </p:sp>
      <p:sp>
        <p:nvSpPr>
          <p:cNvPr id="33" name="Полилиния 12"/>
          <p:cNvSpPr>
            <a:spLocks noChangeArrowheads="1"/>
          </p:cNvSpPr>
          <p:nvPr/>
        </p:nvSpPr>
        <p:spPr bwMode="auto">
          <a:xfrm>
            <a:off x="5072295" y="5395302"/>
            <a:ext cx="2288485" cy="573037"/>
          </a:xfrm>
          <a:custGeom>
            <a:avLst/>
            <a:gdLst>
              <a:gd name="T0" fmla="*/ 1069236 w 2138469"/>
              <a:gd name="T1" fmla="*/ 0 h 1157833"/>
              <a:gd name="T2" fmla="*/ 2138472 w 2138469"/>
              <a:gd name="T3" fmla="*/ 578915 h 1157833"/>
              <a:gd name="T4" fmla="*/ 1069236 w 2138469"/>
              <a:gd name="T5" fmla="*/ 1157829 h 1157833"/>
              <a:gd name="T6" fmla="*/ 0 w 2138469"/>
              <a:gd name="T7" fmla="*/ 578915 h 1157833"/>
              <a:gd name="T8" fmla="*/ 0 w 2138469"/>
              <a:gd name="T9" fmla="*/ 115783 h 1157833"/>
              <a:gd name="T10" fmla="*/ 115783 w 2138469"/>
              <a:gd name="T11" fmla="*/ 0 h 1157833"/>
              <a:gd name="T12" fmla="*/ 2022688 w 2138469"/>
              <a:gd name="T13" fmla="*/ 0 h 1157833"/>
              <a:gd name="T14" fmla="*/ 2138472 w 2138469"/>
              <a:gd name="T15" fmla="*/ 115783 h 1157833"/>
              <a:gd name="T16" fmla="*/ 2138472 w 2138469"/>
              <a:gd name="T17" fmla="*/ 1042046 h 1157833"/>
              <a:gd name="T18" fmla="*/ 2022688 w 2138469"/>
              <a:gd name="T19" fmla="*/ 1157829 h 1157833"/>
              <a:gd name="T20" fmla="*/ 115783 w 2138469"/>
              <a:gd name="T21" fmla="*/ 1157829 h 1157833"/>
              <a:gd name="T22" fmla="*/ 0 w 2138469"/>
              <a:gd name="T23" fmla="*/ 1042046 h 1157833"/>
              <a:gd name="T24" fmla="*/ 0 w 2138469"/>
              <a:gd name="T25" fmla="*/ 115783 h 1157833"/>
              <a:gd name="T26" fmla="*/ 17694720 60000 65536"/>
              <a:gd name="T27" fmla="*/ 0 60000 65536"/>
              <a:gd name="T28" fmla="*/ 5898240 60000 65536"/>
              <a:gd name="T29" fmla="*/ 1179648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138469"/>
              <a:gd name="T40" fmla="*/ 0 h 1157833"/>
              <a:gd name="T41" fmla="*/ 2138469 w 2138469"/>
              <a:gd name="T42" fmla="*/ 1157833 h 115783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138469" h="1157833">
                <a:moveTo>
                  <a:pt x="0" y="115783"/>
                </a:moveTo>
                <a:cubicBezTo>
                  <a:pt x="0" y="51838"/>
                  <a:pt x="51838" y="0"/>
                  <a:pt x="115783" y="0"/>
                </a:cubicBezTo>
                <a:lnTo>
                  <a:pt x="2022686" y="0"/>
                </a:lnTo>
                <a:cubicBezTo>
                  <a:pt x="2086631" y="0"/>
                  <a:pt x="2138469" y="51838"/>
                  <a:pt x="2138469" y="115783"/>
                </a:cubicBezTo>
                <a:lnTo>
                  <a:pt x="2138469" y="1042050"/>
                </a:lnTo>
                <a:cubicBezTo>
                  <a:pt x="2138469" y="1105995"/>
                  <a:pt x="2086631" y="1157833"/>
                  <a:pt x="2022686" y="1157833"/>
                </a:cubicBezTo>
                <a:lnTo>
                  <a:pt x="115783" y="1157833"/>
                </a:lnTo>
                <a:cubicBezTo>
                  <a:pt x="51838" y="1157833"/>
                  <a:pt x="0" y="1105995"/>
                  <a:pt x="0" y="1042050"/>
                </a:cubicBezTo>
                <a:lnTo>
                  <a:pt x="0" y="115783"/>
                </a:lnTo>
                <a:close/>
              </a:path>
            </a:pathLst>
          </a:custGeom>
          <a:solidFill>
            <a:srgbClr val="BFDCBA"/>
          </a:solidFill>
          <a:ln w="12700">
            <a:solidFill>
              <a:srgbClr val="002060"/>
            </a:solidFill>
            <a:headEnd/>
            <a:tailEnd/>
          </a:ln>
          <a:effectLst/>
        </p:spPr>
        <p:style>
          <a:lnRef idx="0">
            <a:schemeClr val="accent1"/>
          </a:lnRef>
          <a:fillRef idx="1002">
            <a:schemeClr val="dk2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065" tIns="91065" rIns="91065" bIns="91065" anchor="ctr" anchorCtr="1"/>
          <a:lstStyle/>
          <a:p>
            <a:pPr algn="ctr" defTabSz="666750">
              <a:lnSpc>
                <a:spcPct val="90000"/>
              </a:lnSpc>
              <a:spcAft>
                <a:spcPts val="600"/>
              </a:spcAft>
              <a:defRPr/>
            </a:pPr>
            <a:endParaRPr lang="ru-RU" altLang="ru-RU" sz="1300" dirty="0">
              <a:solidFill>
                <a:srgbClr val="1F47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66750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ru-RU" sz="1300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ессиональная переподготовка работников предприятий</a:t>
            </a:r>
          </a:p>
          <a:p>
            <a:pPr algn="ctr" defTabSz="666750">
              <a:lnSpc>
                <a:spcPct val="90000"/>
              </a:lnSpc>
              <a:spcAft>
                <a:spcPts val="600"/>
              </a:spcAft>
              <a:defRPr/>
            </a:pPr>
            <a:endParaRPr lang="ru-RU" altLang="ru-RU" sz="1300" dirty="0">
              <a:solidFill>
                <a:srgbClr val="1F47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4" name="Прямая со стрелкой 33"/>
          <p:cNvCxnSpPr>
            <a:stCxn id="14" idx="2"/>
            <a:endCxn id="276503" idx="0"/>
          </p:cNvCxnSpPr>
          <p:nvPr/>
        </p:nvCxnSpPr>
        <p:spPr>
          <a:xfrm>
            <a:off x="1733550" y="2714625"/>
            <a:ext cx="0" cy="5302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503" name="Полилиния 12"/>
          <p:cNvSpPr>
            <a:spLocks noChangeArrowheads="1"/>
          </p:cNvSpPr>
          <p:nvPr/>
        </p:nvSpPr>
        <p:spPr bwMode="auto">
          <a:xfrm>
            <a:off x="533400" y="3244850"/>
            <a:ext cx="2400300" cy="687388"/>
          </a:xfrm>
          <a:custGeom>
            <a:avLst/>
            <a:gdLst>
              <a:gd name="T0" fmla="*/ 3809818 w 2138469"/>
              <a:gd name="T1" fmla="*/ 0 h 1157833"/>
              <a:gd name="T2" fmla="*/ 7619627 w 2138469"/>
              <a:gd name="T3" fmla="*/ 1865 h 1157833"/>
              <a:gd name="T4" fmla="*/ 3809818 w 2138469"/>
              <a:gd name="T5" fmla="*/ 3731 h 1157833"/>
              <a:gd name="T6" fmla="*/ 0 w 2138469"/>
              <a:gd name="T7" fmla="*/ 1865 h 1157833"/>
              <a:gd name="T8" fmla="*/ 0 w 2138469"/>
              <a:gd name="T9" fmla="*/ 373 h 1157833"/>
              <a:gd name="T10" fmla="*/ 412550 w 2138469"/>
              <a:gd name="T11" fmla="*/ 0 h 1157833"/>
              <a:gd name="T12" fmla="*/ 7207072 w 2138469"/>
              <a:gd name="T13" fmla="*/ 0 h 1157833"/>
              <a:gd name="T14" fmla="*/ 7619627 w 2138469"/>
              <a:gd name="T15" fmla="*/ 373 h 1157833"/>
              <a:gd name="T16" fmla="*/ 7619627 w 2138469"/>
              <a:gd name="T17" fmla="*/ 3358 h 1157833"/>
              <a:gd name="T18" fmla="*/ 7207072 w 2138469"/>
              <a:gd name="T19" fmla="*/ 3731 h 1157833"/>
              <a:gd name="T20" fmla="*/ 412550 w 2138469"/>
              <a:gd name="T21" fmla="*/ 3731 h 1157833"/>
              <a:gd name="T22" fmla="*/ 0 w 2138469"/>
              <a:gd name="T23" fmla="*/ 3358 h 1157833"/>
              <a:gd name="T24" fmla="*/ 0 w 2138469"/>
              <a:gd name="T25" fmla="*/ 373 h 1157833"/>
              <a:gd name="T26" fmla="*/ 17694720 60000 65536"/>
              <a:gd name="T27" fmla="*/ 0 60000 65536"/>
              <a:gd name="T28" fmla="*/ 5898240 60000 65536"/>
              <a:gd name="T29" fmla="*/ 1179648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138469"/>
              <a:gd name="T40" fmla="*/ 0 h 1157833"/>
              <a:gd name="T41" fmla="*/ 2138469 w 2138469"/>
              <a:gd name="T42" fmla="*/ 1157833 h 115783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138469" h="1157833">
                <a:moveTo>
                  <a:pt x="0" y="115783"/>
                </a:moveTo>
                <a:cubicBezTo>
                  <a:pt x="0" y="51838"/>
                  <a:pt x="51838" y="0"/>
                  <a:pt x="115783" y="0"/>
                </a:cubicBezTo>
                <a:lnTo>
                  <a:pt x="2022686" y="0"/>
                </a:lnTo>
                <a:cubicBezTo>
                  <a:pt x="2086631" y="0"/>
                  <a:pt x="2138469" y="51838"/>
                  <a:pt x="2138469" y="115783"/>
                </a:cubicBezTo>
                <a:lnTo>
                  <a:pt x="2138469" y="1042050"/>
                </a:lnTo>
                <a:cubicBezTo>
                  <a:pt x="2138469" y="1105995"/>
                  <a:pt x="2086631" y="1157833"/>
                  <a:pt x="2022686" y="1157833"/>
                </a:cubicBezTo>
                <a:lnTo>
                  <a:pt x="115783" y="1157833"/>
                </a:lnTo>
                <a:cubicBezTo>
                  <a:pt x="51838" y="1157833"/>
                  <a:pt x="0" y="1105995"/>
                  <a:pt x="0" y="1042050"/>
                </a:cubicBezTo>
                <a:lnTo>
                  <a:pt x="0" y="115783"/>
                </a:lnTo>
                <a:close/>
              </a:path>
            </a:pathLst>
          </a:custGeom>
          <a:solidFill>
            <a:srgbClr val="F0C8C9"/>
          </a:solidFill>
          <a:ln w="12700">
            <a:solidFill>
              <a:srgbClr val="002060"/>
            </a:solidFill>
            <a:miter lim="800000"/>
            <a:headEnd/>
            <a:tailEnd/>
          </a:ln>
        </p:spPr>
        <p:txBody>
          <a:bodyPr lIns="91065" tIns="91065" rIns="91065" bIns="91065" anchor="ctr" anchorCtr="1"/>
          <a:lstStyle/>
          <a:p>
            <a:pPr algn="ctr" defTabSz="666750">
              <a:lnSpc>
                <a:spcPct val="90000"/>
              </a:lnSpc>
              <a:spcAft>
                <a:spcPts val="600"/>
              </a:spcAft>
            </a:pPr>
            <a:r>
              <a:rPr lang="ru-RU" altLang="ru-RU" sz="1400" dirty="0">
                <a:solidFill>
                  <a:srgbClr val="1F477D"/>
                </a:solidFill>
                <a:latin typeface="Arial" charset="0"/>
                <a:cs typeface="Arial" charset="0"/>
              </a:rPr>
              <a:t>Независимая сертификация квалификаций</a:t>
            </a:r>
          </a:p>
        </p:txBody>
      </p:sp>
      <p:cxnSp>
        <p:nvCxnSpPr>
          <p:cNvPr id="51" name="Соединительная линия уступом 50"/>
          <p:cNvCxnSpPr>
            <a:endCxn id="276489" idx="3"/>
          </p:cNvCxnSpPr>
          <p:nvPr/>
        </p:nvCxnSpPr>
        <p:spPr>
          <a:xfrm flipV="1">
            <a:off x="2933700" y="1979613"/>
            <a:ext cx="1368425" cy="214312"/>
          </a:xfrm>
          <a:prstGeom prst="bentConnector3">
            <a:avLst>
              <a:gd name="adj1" fmla="val 50000"/>
            </a:avLst>
          </a:prstGeom>
          <a:ln>
            <a:solidFill>
              <a:srgbClr val="00206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Соединительная линия уступом 52"/>
          <p:cNvCxnSpPr>
            <a:endCxn id="276490" idx="3"/>
          </p:cNvCxnSpPr>
          <p:nvPr/>
        </p:nvCxnSpPr>
        <p:spPr>
          <a:xfrm>
            <a:off x="2933700" y="2481263"/>
            <a:ext cx="2052638" cy="693737"/>
          </a:xfrm>
          <a:prstGeom prst="bentConnector3">
            <a:avLst>
              <a:gd name="adj1" fmla="val 42045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Соединительная линия уступом 57"/>
          <p:cNvCxnSpPr>
            <a:stCxn id="276489" idx="2"/>
            <a:endCxn id="276490" idx="0"/>
          </p:cNvCxnSpPr>
          <p:nvPr/>
        </p:nvCxnSpPr>
        <p:spPr>
          <a:xfrm rot="16200000" flipH="1">
            <a:off x="5805488" y="1905000"/>
            <a:ext cx="560388" cy="1347787"/>
          </a:xfrm>
          <a:prstGeom prst="bentConnector3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 стрелкой 78"/>
          <p:cNvCxnSpPr>
            <a:stCxn id="26" idx="2"/>
          </p:cNvCxnSpPr>
          <p:nvPr/>
        </p:nvCxnSpPr>
        <p:spPr>
          <a:xfrm>
            <a:off x="7948613" y="2301875"/>
            <a:ext cx="9525" cy="5572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 стрелкой 85"/>
          <p:cNvCxnSpPr>
            <a:endCxn id="26" idx="3"/>
          </p:cNvCxnSpPr>
          <p:nvPr/>
        </p:nvCxnSpPr>
        <p:spPr>
          <a:xfrm flipV="1">
            <a:off x="6519863" y="1979613"/>
            <a:ext cx="357187" cy="0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Правая фигурная скобка 86"/>
          <p:cNvSpPr/>
          <p:nvPr/>
        </p:nvSpPr>
        <p:spPr>
          <a:xfrm>
            <a:off x="7478713" y="4275138"/>
            <a:ext cx="152400" cy="169386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8" name="Левая фигурная скобка 87"/>
          <p:cNvSpPr/>
          <p:nvPr/>
        </p:nvSpPr>
        <p:spPr>
          <a:xfrm>
            <a:off x="4778375" y="4291013"/>
            <a:ext cx="204788" cy="1677987"/>
          </a:xfrm>
          <a:prstGeom prst="leftBrace">
            <a:avLst>
              <a:gd name="adj1" fmla="val 8333"/>
              <a:gd name="adj2" fmla="val 50629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94" name="Соединительная линия уступом 93"/>
          <p:cNvCxnSpPr>
            <a:endCxn id="276503" idx="2"/>
          </p:cNvCxnSpPr>
          <p:nvPr/>
        </p:nvCxnSpPr>
        <p:spPr>
          <a:xfrm rot="16200000" flipV="1">
            <a:off x="1277938" y="4387850"/>
            <a:ext cx="1460500" cy="549275"/>
          </a:xfrm>
          <a:prstGeom prst="bentConnector3">
            <a:avLst>
              <a:gd name="adj1" fmla="val 79805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Соединительная линия уступом 103"/>
          <p:cNvCxnSpPr/>
          <p:nvPr/>
        </p:nvCxnSpPr>
        <p:spPr>
          <a:xfrm rot="5400000">
            <a:off x="7423150" y="4332288"/>
            <a:ext cx="1133475" cy="457200"/>
          </a:xfrm>
          <a:prstGeom prst="bentConnector3">
            <a:avLst>
              <a:gd name="adj1" fmla="val 9993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6513" name="Рисунок 108"/>
          <p:cNvPicPr>
            <a:picLocks noChangeAspect="1"/>
          </p:cNvPicPr>
          <p:nvPr/>
        </p:nvPicPr>
        <p:blipFill>
          <a:blip r:embed="rId3"/>
          <a:srcRect l="2068" t="10014" r="2621" b="5661"/>
          <a:stretch>
            <a:fillRect/>
          </a:stretch>
        </p:blipFill>
        <p:spPr bwMode="auto">
          <a:xfrm>
            <a:off x="1038225" y="4494213"/>
            <a:ext cx="2519363" cy="1541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5" name="Прямая со стрелкой 114"/>
          <p:cNvCxnSpPr/>
          <p:nvPr/>
        </p:nvCxnSpPr>
        <p:spPr>
          <a:xfrm flipH="1">
            <a:off x="3617913" y="5129213"/>
            <a:ext cx="98742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6515" name="Рисунок 116"/>
          <p:cNvPicPr>
            <a:picLocks noChangeAspect="1"/>
          </p:cNvPicPr>
          <p:nvPr/>
        </p:nvPicPr>
        <p:blipFill>
          <a:blip r:embed="rId4"/>
          <a:srcRect l="13809" t="10477" r="43016" b="64761"/>
          <a:stretch>
            <a:fillRect/>
          </a:stretch>
        </p:blipFill>
        <p:spPr bwMode="auto">
          <a:xfrm>
            <a:off x="1695450" y="5067300"/>
            <a:ext cx="931863" cy="35242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sp>
        <p:nvSpPr>
          <p:cNvPr id="276516" name="Номер слайда 1"/>
          <p:cNvSpPr txBox="1">
            <a:spLocks noGrp="1"/>
          </p:cNvSpPr>
          <p:nvPr/>
        </p:nvSpPr>
        <p:spPr bwMode="auto">
          <a:xfrm>
            <a:off x="8805863" y="6532563"/>
            <a:ext cx="354012" cy="303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fld id="{4CAE6EB8-4B96-4F0B-BEC4-99E08460E770}" type="slidenum">
              <a:rPr lang="ru-RU" sz="1200" b="1">
                <a:solidFill>
                  <a:schemeClr val="bg1"/>
                </a:solidFill>
                <a:latin typeface="Arial Narrow" pitchFamily="34" charset="0"/>
              </a:rPr>
              <a:pPr algn="ctr"/>
              <a:t>4</a:t>
            </a:fld>
            <a:endParaRPr lang="ru-RU" sz="1200" b="1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997161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563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07950" y="404813"/>
            <a:ext cx="8047038" cy="504825"/>
          </a:xfrm>
        </p:spPr>
        <p:txBody>
          <a:bodyPr/>
          <a:lstStyle/>
          <a:p>
            <a:pPr marL="176213" eaLnBrk="1" hangingPunct="1"/>
            <a:r>
              <a:rPr lang="ru-RU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Формирование отраслевой системы оценки квалификаций и аккредитации образовательных программ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107950" y="1214711"/>
            <a:ext cx="8928100" cy="846137"/>
            <a:chOff x="107950" y="1214711"/>
            <a:chExt cx="8928100" cy="846137"/>
          </a:xfrm>
        </p:grpSpPr>
        <p:sp>
          <p:nvSpPr>
            <p:cNvPr id="33" name="Скругленный прямоугольник 32"/>
            <p:cNvSpPr/>
            <p:nvPr/>
          </p:nvSpPr>
          <p:spPr>
            <a:xfrm>
              <a:off x="107950" y="1214711"/>
              <a:ext cx="2357438" cy="792162"/>
            </a:xfrm>
            <a:prstGeom prst="roundRect">
              <a:avLst/>
            </a:prstGeom>
            <a:noFill/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200" b="1" dirty="0">
                  <a:solidFill>
                    <a:srgbClr val="1F435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ЗРАБОТКА ПРОФЕССИОНАЛЬНЫХ СТАНДАРТОВ</a:t>
              </a:r>
            </a:p>
          </p:txBody>
        </p:sp>
        <p:sp>
          <p:nvSpPr>
            <p:cNvPr id="34" name="Скругленный прямоугольник 33"/>
            <p:cNvSpPr/>
            <p:nvPr/>
          </p:nvSpPr>
          <p:spPr>
            <a:xfrm>
              <a:off x="3132138" y="1214711"/>
              <a:ext cx="2447925" cy="820737"/>
            </a:xfrm>
            <a:prstGeom prst="roundRect">
              <a:avLst/>
            </a:prstGeom>
            <a:noFill/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200" b="1">
                  <a:solidFill>
                    <a:srgbClr val="1F435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ЕРТИФИКАЦИЯ КВАЛИФИКАЦИЙ</a:t>
              </a:r>
            </a:p>
          </p:txBody>
        </p:sp>
        <p:sp>
          <p:nvSpPr>
            <p:cNvPr id="35" name="Скругленный прямоугольник 34"/>
            <p:cNvSpPr/>
            <p:nvPr/>
          </p:nvSpPr>
          <p:spPr>
            <a:xfrm>
              <a:off x="6372225" y="1214711"/>
              <a:ext cx="2663825" cy="846137"/>
            </a:xfrm>
            <a:prstGeom prst="roundRect">
              <a:avLst/>
            </a:prstGeom>
            <a:noFill/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200" b="1">
                  <a:solidFill>
                    <a:srgbClr val="1F435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ЩЕСТВЕННО-ПРОФЕССИОНАЛЬНАЯ АККРЕДИТАЦИЯ ООП</a:t>
              </a:r>
            </a:p>
          </p:txBody>
        </p:sp>
        <p:sp>
          <p:nvSpPr>
            <p:cNvPr id="36" name="Стрелка вправо 35"/>
            <p:cNvSpPr/>
            <p:nvPr/>
          </p:nvSpPr>
          <p:spPr>
            <a:xfrm>
              <a:off x="5651500" y="1359173"/>
              <a:ext cx="661988" cy="550863"/>
            </a:xfrm>
            <a:prstGeom prst="rightArrow">
              <a:avLst/>
            </a:prstGeom>
            <a:noFill/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Стрелка вправо 36"/>
            <p:cNvSpPr/>
            <p:nvPr/>
          </p:nvSpPr>
          <p:spPr>
            <a:xfrm>
              <a:off x="2555875" y="1359173"/>
              <a:ext cx="546100" cy="484188"/>
            </a:xfrm>
            <a:prstGeom prst="rightArrow">
              <a:avLst/>
            </a:prstGeom>
            <a:noFill/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78571" name="Прямоугольник 38"/>
          <p:cNvSpPr>
            <a:spLocks noChangeArrowheads="1"/>
          </p:cNvSpPr>
          <p:nvPr/>
        </p:nvSpPr>
        <p:spPr bwMode="auto">
          <a:xfrm>
            <a:off x="0" y="4221163"/>
            <a:ext cx="403225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ессионально-общественная аккредитация</a:t>
            </a:r>
          </a:p>
        </p:txBody>
      </p:sp>
      <p:sp>
        <p:nvSpPr>
          <p:cNvPr id="278572" name="Текст 2"/>
          <p:cNvSpPr txBox="1">
            <a:spLocks/>
          </p:cNvSpPr>
          <p:nvPr/>
        </p:nvSpPr>
        <p:spPr bwMode="auto">
          <a:xfrm>
            <a:off x="75506" y="4552951"/>
            <a:ext cx="4208462" cy="1900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82563" indent="-182563" algn="just"/>
            <a:r>
              <a:rPr lang="ru-RU" sz="1100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Направления подготовки/специальности, реализуемые в интересах отрасли  в опорных вузах ГК «</a:t>
            </a:r>
            <a:r>
              <a:rPr lang="ru-RU" sz="1100" dirty="0" err="1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атом</a:t>
            </a:r>
            <a:r>
              <a:rPr lang="ru-RU" sz="1100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и других образовательных учреждениях, готовящих кадры для </a:t>
            </a:r>
            <a:r>
              <a:rPr lang="ru-RU" sz="1100" dirty="0" err="1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корпорации</a:t>
            </a:r>
            <a:r>
              <a:rPr lang="ru-RU" sz="1100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должны пройти отраслевую профессионально-общественную аккредитацию. </a:t>
            </a:r>
            <a:endParaRPr lang="en-US" sz="1100" dirty="0" smtClean="0">
              <a:solidFill>
                <a:srgbClr val="1F47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563" indent="-182563"/>
            <a:endParaRPr lang="ru-RU" sz="1100" dirty="0">
              <a:solidFill>
                <a:srgbClr val="1F47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563" indent="-182563">
              <a:buFontTx/>
              <a:buAutoNum type="arabicPeriod"/>
            </a:pPr>
            <a:r>
              <a:rPr lang="ru-RU" sz="1000" b="1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жегодная аккредитация не менее 10 образовательных программ ВО по ключевым специальностям/направлениям </a:t>
            </a:r>
          </a:p>
          <a:p>
            <a:pPr marL="182563" indent="-182563">
              <a:buFontTx/>
              <a:buAutoNum type="arabicPeriod"/>
            </a:pPr>
            <a:r>
              <a:rPr lang="ru-RU" sz="1000" b="1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кредитация программ СПО с учетом требований </a:t>
            </a:r>
            <a:r>
              <a:rPr lang="en-US" sz="1000" b="1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ld Skills</a:t>
            </a:r>
            <a:endParaRPr lang="ru-RU" sz="1000" b="1" dirty="0">
              <a:solidFill>
                <a:srgbClr val="1F47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563" indent="-182563">
              <a:buFontTx/>
              <a:buAutoNum type="arabicPeriod"/>
            </a:pPr>
            <a:r>
              <a:rPr lang="ru-RU" sz="1000" b="1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кредитация программ ДПО</a:t>
            </a:r>
          </a:p>
        </p:txBody>
      </p:sp>
      <p:sp>
        <p:nvSpPr>
          <p:cNvPr id="278575" name="Номер слайда 3"/>
          <p:cNvSpPr txBox="1">
            <a:spLocks noGrp="1"/>
          </p:cNvSpPr>
          <p:nvPr/>
        </p:nvSpPr>
        <p:spPr bwMode="auto">
          <a:xfrm>
            <a:off x="8805863" y="6532563"/>
            <a:ext cx="354012" cy="303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fld id="{A18E0930-2C09-4138-A796-32CF7BBF6127}" type="slidenum">
              <a:rPr lang="ru-RU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5</a:t>
            </a:fld>
            <a:endParaRPr lang="ru-RU" sz="12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4211960" y="2205038"/>
            <a:ext cx="4930775" cy="4152900"/>
            <a:chOff x="4249737" y="2205038"/>
            <a:chExt cx="4930775" cy="4152900"/>
          </a:xfrm>
        </p:grpSpPr>
        <p:grpSp>
          <p:nvGrpSpPr>
            <p:cNvPr id="278565" name="Группа 5"/>
            <p:cNvGrpSpPr>
              <a:grpSpLocks/>
            </p:cNvGrpSpPr>
            <p:nvPr/>
          </p:nvGrpSpPr>
          <p:grpSpPr bwMode="auto">
            <a:xfrm>
              <a:off x="4249737" y="2205038"/>
              <a:ext cx="4930775" cy="4152900"/>
              <a:chOff x="4115801" y="1650228"/>
              <a:chExt cx="5028199" cy="3715365"/>
            </a:xfrm>
          </p:grpSpPr>
          <p:grpSp>
            <p:nvGrpSpPr>
              <p:cNvPr id="278583" name="Группа 20"/>
              <p:cNvGrpSpPr>
                <a:grpSpLocks/>
              </p:cNvGrpSpPr>
              <p:nvPr/>
            </p:nvGrpSpPr>
            <p:grpSpPr bwMode="auto">
              <a:xfrm>
                <a:off x="4115801" y="1650228"/>
                <a:ext cx="5028199" cy="3715365"/>
                <a:chOff x="-12587" y="-32652"/>
                <a:chExt cx="4925143" cy="4360998"/>
              </a:xfrm>
            </p:grpSpPr>
            <p:sp>
              <p:nvSpPr>
                <p:cNvPr id="278588" name="Прямоугольник 19"/>
                <p:cNvSpPr>
                  <a:spLocks noChangeArrowheads="1"/>
                </p:cNvSpPr>
                <p:nvPr/>
              </p:nvSpPr>
              <p:spPr bwMode="auto">
                <a:xfrm>
                  <a:off x="-12587" y="-32652"/>
                  <a:ext cx="4814145" cy="4801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pPr algn="ctr"/>
                  <a:r>
                    <a:rPr lang="ru-RU" sz="1200" b="1">
                      <a:solidFill>
                        <a:srgbClr val="00206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Сертификация выпускников по ключевым (ядерным) специальностям ГК Росатом</a:t>
                  </a:r>
                  <a:endParaRPr lang="ru-RU" sz="1200" b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78589" name="Группа 1"/>
                <p:cNvGrpSpPr>
                  <a:grpSpLocks/>
                </p:cNvGrpSpPr>
                <p:nvPr/>
              </p:nvGrpSpPr>
              <p:grpSpPr bwMode="auto">
                <a:xfrm>
                  <a:off x="126259" y="3153077"/>
                  <a:ext cx="4786297" cy="1175269"/>
                  <a:chOff x="126259" y="3153077"/>
                  <a:chExt cx="4786297" cy="1175269"/>
                </a:xfrm>
              </p:grpSpPr>
              <p:sp>
                <p:nvSpPr>
                  <p:cNvPr id="23" name="TextBox 22"/>
                  <p:cNvSpPr txBox="1"/>
                  <p:nvPr/>
                </p:nvSpPr>
                <p:spPr>
                  <a:xfrm>
                    <a:off x="2025020" y="3208090"/>
                    <a:ext cx="1428704" cy="1103585"/>
                  </a:xfrm>
                  <a:prstGeom prst="roundRect">
                    <a:avLst>
                      <a:gd name="adj" fmla="val 8604"/>
                    </a:avLst>
                  </a:prstGeom>
                  <a:noFill/>
                  <a:ln>
                    <a:noFill/>
                  </a:ln>
                </p:spPr>
                <p:style>
                  <a:lnRef idx="2">
                    <a:schemeClr val="accent3"/>
                  </a:lnRef>
                  <a:fillRef idx="1">
                    <a:schemeClr val="lt1"/>
                  </a:fillRef>
                  <a:effectRef idx="0">
                    <a:schemeClr val="accent3"/>
                  </a:effectRef>
                  <a:fontRef idx="minor">
                    <a:schemeClr val="dk1"/>
                  </a:fontRef>
                </p:style>
                <p:txBody>
                  <a:bodyPr lIns="36000" rIns="36000"/>
                  <a:lstStyle/>
                  <a:p>
                    <a:pPr fontAlgn="auto">
                      <a:spcBef>
                        <a:spcPts val="600"/>
                      </a:spcBef>
                      <a:spcAft>
                        <a:spcPts val="0"/>
                      </a:spcAft>
                      <a:defRPr/>
                    </a:pPr>
                    <a:r>
                      <a:rPr lang="ru-RU" sz="9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2 этап. </a:t>
                    </a:r>
                    <a:r>
                      <a:rPr lang="ru-RU" sz="9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Расширение списка специальностей и предприятий – участников проекта (2013-2014 год)</a:t>
                    </a:r>
                  </a:p>
                </p:txBody>
              </p:sp>
              <p:sp>
                <p:nvSpPr>
                  <p:cNvPr id="24" name="TextBox 23"/>
                  <p:cNvSpPr txBox="1"/>
                  <p:nvPr/>
                </p:nvSpPr>
                <p:spPr>
                  <a:xfrm>
                    <a:off x="3453724" y="3181417"/>
                    <a:ext cx="1458832" cy="1118588"/>
                  </a:xfrm>
                  <a:prstGeom prst="roundRect">
                    <a:avLst>
                      <a:gd name="adj" fmla="val 9276"/>
                    </a:avLst>
                  </a:prstGeom>
                  <a:noFill/>
                  <a:ln>
                    <a:noFill/>
                  </a:ln>
                </p:spPr>
                <p:style>
                  <a:lnRef idx="2">
                    <a:schemeClr val="accent3"/>
                  </a:lnRef>
                  <a:fillRef idx="1">
                    <a:schemeClr val="lt1"/>
                  </a:fillRef>
                  <a:effectRef idx="0">
                    <a:schemeClr val="accent3"/>
                  </a:effectRef>
                  <a:fontRef idx="minor">
                    <a:schemeClr val="dk1"/>
                  </a:fontRef>
                </p:style>
                <p:txBody>
                  <a:bodyPr lIns="36000" rIns="36000"/>
                  <a:lstStyle>
                    <a:defPPr>
                      <a:defRPr lang="ru-RU"/>
                    </a:defPPr>
                    <a:lvl1pPr algn="just">
                      <a:spcBef>
                        <a:spcPts val="600"/>
                      </a:spcBef>
                      <a:defRPr sz="900" b="1">
                        <a:solidFill>
                          <a:srgbClr val="002060"/>
                        </a:solidFill>
                      </a:defRPr>
                    </a:lvl1pPr>
                    <a:lvl2pPr>
                      <a:defRPr>
                        <a:solidFill>
                          <a:schemeClr val="dk1"/>
                        </a:solidFill>
                      </a:defRPr>
                    </a:lvl2pPr>
                    <a:lvl3pPr>
                      <a:defRPr>
                        <a:solidFill>
                          <a:schemeClr val="dk1"/>
                        </a:solidFill>
                      </a:defRPr>
                    </a:lvl3pPr>
                    <a:lvl4pPr>
                      <a:defRPr>
                        <a:solidFill>
                          <a:schemeClr val="dk1"/>
                        </a:solidFill>
                      </a:defRPr>
                    </a:lvl4pPr>
                    <a:lvl5pPr>
                      <a:defRPr>
                        <a:solidFill>
                          <a:schemeClr val="dk1"/>
                        </a:solidFill>
                      </a:defRPr>
                    </a:lvl5pPr>
                    <a:lvl6pPr>
                      <a:defRPr>
                        <a:solidFill>
                          <a:schemeClr val="dk1"/>
                        </a:solidFill>
                      </a:defRPr>
                    </a:lvl6pPr>
                    <a:lvl7pPr>
                      <a:defRPr>
                        <a:solidFill>
                          <a:schemeClr val="dk1"/>
                        </a:solidFill>
                      </a:defRPr>
                    </a:lvl7pPr>
                    <a:lvl8pPr>
                      <a:defRPr>
                        <a:solidFill>
                          <a:schemeClr val="dk1"/>
                        </a:solidFill>
                      </a:defRPr>
                    </a:lvl8pPr>
                    <a:lvl9pPr>
                      <a:defRPr>
                        <a:solidFill>
                          <a:schemeClr val="dk1"/>
                        </a:solidFill>
                      </a:defRPr>
                    </a:lvl9pPr>
                  </a:lstStyle>
                  <a:p>
                    <a:pPr algn="l" fontAlgn="auto">
                      <a:spcAft>
                        <a:spcPts val="0"/>
                      </a:spcAft>
                      <a:defRPr/>
                    </a:pPr>
                    <a:r>
                      <a:rPr lang="ru-RU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3 этап</a:t>
                    </a:r>
                    <a:r>
                      <a:rPr lang="ru-RU" b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. Переход к обязательной сертификации  всех выпускников, приходящих в отрасль </a:t>
                    </a:r>
                    <a:r>
                      <a:rPr lang="ru-RU" b="0" dirty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/>
                    </a:r>
                    <a:br>
                      <a:rPr lang="ru-RU" b="0" dirty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</a:br>
                    <a:r>
                      <a:rPr lang="ru-RU" b="0" dirty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(2017 </a:t>
                    </a:r>
                    <a:r>
                      <a:rPr lang="ru-RU" b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год)</a:t>
                    </a:r>
                  </a:p>
                </p:txBody>
              </p:sp>
              <p:sp>
                <p:nvSpPr>
                  <p:cNvPr id="25" name="TextBox 24"/>
                  <p:cNvSpPr txBox="1"/>
                  <p:nvPr/>
                </p:nvSpPr>
                <p:spPr>
                  <a:xfrm>
                    <a:off x="126259" y="3153077"/>
                    <a:ext cx="1782003" cy="1175269"/>
                  </a:xfrm>
                  <a:prstGeom prst="roundRect">
                    <a:avLst>
                      <a:gd name="adj" fmla="val 11278"/>
                    </a:avLst>
                  </a:prstGeom>
                  <a:noFill/>
                  <a:ln>
                    <a:noFill/>
                  </a:ln>
                </p:spPr>
                <p:style>
                  <a:lnRef idx="2">
                    <a:schemeClr val="accent3"/>
                  </a:lnRef>
                  <a:fillRef idx="1">
                    <a:schemeClr val="lt1"/>
                  </a:fillRef>
                  <a:effectRef idx="0">
                    <a:schemeClr val="accent3"/>
                  </a:effectRef>
                  <a:fontRef idx="minor">
                    <a:schemeClr val="dk1"/>
                  </a:fontRef>
                </p:style>
                <p:txBody>
                  <a:bodyPr lIns="36000" rIns="36000"/>
                  <a:lstStyle>
                    <a:defPPr>
                      <a:defRPr lang="ru-RU"/>
                    </a:defPPr>
                    <a:lvl1pPr algn="just">
                      <a:spcBef>
                        <a:spcPts val="600"/>
                      </a:spcBef>
                      <a:defRPr sz="900" b="1">
                        <a:solidFill>
                          <a:srgbClr val="002060"/>
                        </a:solidFill>
                      </a:defRPr>
                    </a:lvl1pPr>
                    <a:lvl2pPr>
                      <a:defRPr>
                        <a:solidFill>
                          <a:schemeClr val="dk1"/>
                        </a:solidFill>
                      </a:defRPr>
                    </a:lvl2pPr>
                    <a:lvl3pPr>
                      <a:defRPr>
                        <a:solidFill>
                          <a:schemeClr val="dk1"/>
                        </a:solidFill>
                      </a:defRPr>
                    </a:lvl3pPr>
                    <a:lvl4pPr>
                      <a:defRPr>
                        <a:solidFill>
                          <a:schemeClr val="dk1"/>
                        </a:solidFill>
                      </a:defRPr>
                    </a:lvl4pPr>
                    <a:lvl5pPr>
                      <a:defRPr>
                        <a:solidFill>
                          <a:schemeClr val="dk1"/>
                        </a:solidFill>
                      </a:defRPr>
                    </a:lvl5pPr>
                    <a:lvl6pPr>
                      <a:defRPr>
                        <a:solidFill>
                          <a:schemeClr val="dk1"/>
                        </a:solidFill>
                      </a:defRPr>
                    </a:lvl6pPr>
                    <a:lvl7pPr>
                      <a:defRPr>
                        <a:solidFill>
                          <a:schemeClr val="dk1"/>
                        </a:solidFill>
                      </a:defRPr>
                    </a:lvl7pPr>
                    <a:lvl8pPr>
                      <a:defRPr>
                        <a:solidFill>
                          <a:schemeClr val="dk1"/>
                        </a:solidFill>
                      </a:defRPr>
                    </a:lvl8pPr>
                    <a:lvl9pPr>
                      <a:defRPr>
                        <a:solidFill>
                          <a:schemeClr val="dk1"/>
                        </a:solidFill>
                      </a:defRPr>
                    </a:lvl9pPr>
                  </a:lstStyle>
                  <a:p>
                    <a:pPr algn="l" fontAlgn="auto">
                      <a:spcAft>
                        <a:spcPts val="0"/>
                      </a:spcAft>
                      <a:defRPr/>
                    </a:pPr>
                    <a:r>
                      <a:rPr lang="ru-RU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1 этап. </a:t>
                    </a:r>
                    <a:r>
                      <a:rPr lang="ru-RU" b="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Пилотный проект по внедрению системы сертификации квалификации выпускников вузов – «входной контроль» (сентябрь 2011 – ноябрь 2013)</a:t>
                    </a:r>
                  </a:p>
                </p:txBody>
              </p:sp>
            </p:grpSp>
          </p:grpSp>
          <p:grpSp>
            <p:nvGrpSpPr>
              <p:cNvPr id="278584" name="Группа 40"/>
              <p:cNvGrpSpPr>
                <a:grpSpLocks/>
              </p:cNvGrpSpPr>
              <p:nvPr/>
            </p:nvGrpSpPr>
            <p:grpSpPr bwMode="auto">
              <a:xfrm>
                <a:off x="4868726" y="4226932"/>
                <a:ext cx="3427519" cy="235065"/>
                <a:chOff x="4921736" y="4231724"/>
                <a:chExt cx="3427519" cy="235065"/>
              </a:xfrm>
            </p:grpSpPr>
            <p:sp>
              <p:nvSpPr>
                <p:cNvPr id="278585" name="TextBox 28"/>
                <p:cNvSpPr txBox="1">
                  <a:spLocks noChangeArrowheads="1"/>
                </p:cNvSpPr>
                <p:nvPr/>
              </p:nvSpPr>
              <p:spPr bwMode="auto">
                <a:xfrm>
                  <a:off x="4921736" y="4231724"/>
                  <a:ext cx="807858" cy="22028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ru-RU" sz="1000" b="1" dirty="0">
                      <a:solidFill>
                        <a:srgbClr val="1F477D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2011-2012</a:t>
                  </a:r>
                </a:p>
              </p:txBody>
            </p:sp>
            <p:sp>
              <p:nvSpPr>
                <p:cNvPr id="278586" name="TextBox 30"/>
                <p:cNvSpPr txBox="1">
                  <a:spLocks noChangeArrowheads="1"/>
                </p:cNvSpPr>
                <p:nvPr/>
              </p:nvSpPr>
              <p:spPr bwMode="auto">
                <a:xfrm>
                  <a:off x="6293077" y="4244764"/>
                  <a:ext cx="807858" cy="22028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ru-RU" sz="1000" b="1" dirty="0">
                      <a:solidFill>
                        <a:srgbClr val="1F477D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2013-2014</a:t>
                  </a:r>
                </a:p>
              </p:txBody>
            </p:sp>
            <p:sp>
              <p:nvSpPr>
                <p:cNvPr id="278587" name="TextBox 31"/>
                <p:cNvSpPr txBox="1">
                  <a:spLocks noChangeArrowheads="1"/>
                </p:cNvSpPr>
                <p:nvPr/>
              </p:nvSpPr>
              <p:spPr bwMode="auto">
                <a:xfrm>
                  <a:off x="7849094" y="4246509"/>
                  <a:ext cx="500161" cy="22028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r>
                    <a:rPr lang="ru-RU" sz="1000" b="1">
                      <a:solidFill>
                        <a:srgbClr val="1F477D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2017</a:t>
                  </a:r>
                </a:p>
              </p:txBody>
            </p:sp>
          </p:grpSp>
        </p:grpSp>
        <p:grpSp>
          <p:nvGrpSpPr>
            <p:cNvPr id="278574" name="Группа 4"/>
            <p:cNvGrpSpPr>
              <a:grpSpLocks/>
            </p:cNvGrpSpPr>
            <p:nvPr/>
          </p:nvGrpSpPr>
          <p:grpSpPr bwMode="auto">
            <a:xfrm>
              <a:off x="4756398" y="2852738"/>
              <a:ext cx="4017962" cy="681037"/>
              <a:chOff x="4782312" y="5638997"/>
              <a:chExt cx="4016696" cy="680061"/>
            </a:xfrm>
          </p:grpSpPr>
          <p:sp>
            <p:nvSpPr>
              <p:cNvPr id="45" name="TextBox 44"/>
              <p:cNvSpPr txBox="1"/>
              <p:nvPr/>
            </p:nvSpPr>
            <p:spPr>
              <a:xfrm>
                <a:off x="4782312" y="5638997"/>
                <a:ext cx="4016696" cy="399477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fontAlgn="auto">
                  <a:spcAft>
                    <a:spcPts val="0"/>
                  </a:spcAft>
                  <a:defRPr/>
                </a:pPr>
                <a:r>
                  <a:rPr lang="ru-RU" sz="1000" cap="all" spc="-60" dirty="0">
                    <a:solidFill>
                      <a:srgbClr val="003274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роцент сертифицированных выпускников НИЯУ МИФИ, приходящих в отрасль (ключевые специальности)</a:t>
                </a:r>
              </a:p>
            </p:txBody>
          </p:sp>
          <p:sp>
            <p:nvSpPr>
              <p:cNvPr id="46" name="Стрелка вправо 45"/>
              <p:cNvSpPr/>
              <p:nvPr/>
            </p:nvSpPr>
            <p:spPr>
              <a:xfrm>
                <a:off x="6293136" y="5984576"/>
                <a:ext cx="726846" cy="334482"/>
              </a:xfrm>
              <a:prstGeom prst="rightArrow">
                <a:avLst/>
              </a:prstGeom>
              <a:solidFill>
                <a:schemeClr val="bg1"/>
              </a:solidFill>
              <a:ln w="317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8581" name="TextBox 46"/>
              <p:cNvSpPr txBox="1">
                <a:spLocks noChangeArrowheads="1"/>
              </p:cNvSpPr>
              <p:nvPr/>
            </p:nvSpPr>
            <p:spPr bwMode="auto">
              <a:xfrm>
                <a:off x="4899224" y="6030176"/>
                <a:ext cx="1223090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ru-RU" sz="1200" dirty="0">
                    <a:solidFill>
                      <a:srgbClr val="1F477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13 год : 10% </a:t>
                </a:r>
              </a:p>
            </p:txBody>
          </p:sp>
          <p:sp>
            <p:nvSpPr>
              <p:cNvPr id="278582" name="TextBox 47"/>
              <p:cNvSpPr txBox="1">
                <a:spLocks noChangeArrowheads="1"/>
              </p:cNvSpPr>
              <p:nvPr/>
            </p:nvSpPr>
            <p:spPr bwMode="auto">
              <a:xfrm>
                <a:off x="7169512" y="6047710"/>
                <a:ext cx="1467708" cy="2616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ru-RU" sz="1100">
                    <a:solidFill>
                      <a:srgbClr val="1F477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17 год : 100% </a:t>
                </a:r>
              </a:p>
            </p:txBody>
          </p:sp>
        </p:grpSp>
        <p:pic>
          <p:nvPicPr>
            <p:cNvPr id="278576" name="Picture 2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318248" y="3543300"/>
              <a:ext cx="4591050" cy="16478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" name="Группа 3"/>
          <p:cNvGrpSpPr/>
          <p:nvPr/>
        </p:nvGrpSpPr>
        <p:grpSpPr>
          <a:xfrm>
            <a:off x="35496" y="2138536"/>
            <a:ext cx="3873500" cy="2082552"/>
            <a:chOff x="107950" y="1981448"/>
            <a:chExt cx="3873500" cy="2082552"/>
          </a:xfrm>
        </p:grpSpPr>
        <p:sp>
          <p:nvSpPr>
            <p:cNvPr id="278564" name="Прямоугольник 18"/>
            <p:cNvSpPr>
              <a:spLocks noChangeArrowheads="1"/>
            </p:cNvSpPr>
            <p:nvPr/>
          </p:nvSpPr>
          <p:spPr bwMode="auto">
            <a:xfrm>
              <a:off x="107950" y="1981448"/>
              <a:ext cx="3873500" cy="27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ru-RU" sz="1200" b="1" dirty="0">
                  <a:solidFill>
                    <a:srgbClr val="00327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зработка профессиональных стандартов</a:t>
              </a:r>
            </a:p>
          </p:txBody>
        </p:sp>
        <p:sp>
          <p:nvSpPr>
            <p:cNvPr id="278577" name="Текст 2"/>
            <p:cNvSpPr txBox="1">
              <a:spLocks/>
            </p:cNvSpPr>
            <p:nvPr/>
          </p:nvSpPr>
          <p:spPr bwMode="auto">
            <a:xfrm>
              <a:off x="1116013" y="3773488"/>
              <a:ext cx="576262" cy="2889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182563" indent="-182563" algn="ctr">
                <a:spcAft>
                  <a:spcPts val="600"/>
                </a:spcAft>
              </a:pPr>
              <a:r>
                <a:rPr lang="ru-RU" sz="1200">
                  <a:solidFill>
                    <a:srgbClr val="1F47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16</a:t>
              </a:r>
            </a:p>
          </p:txBody>
        </p:sp>
        <p:sp>
          <p:nvSpPr>
            <p:cNvPr id="278578" name="Текст 2"/>
            <p:cNvSpPr txBox="1">
              <a:spLocks/>
            </p:cNvSpPr>
            <p:nvPr/>
          </p:nvSpPr>
          <p:spPr bwMode="auto">
            <a:xfrm>
              <a:off x="2373313" y="3775075"/>
              <a:ext cx="576262" cy="2889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182563" indent="-182563" algn="ctr">
                <a:spcAft>
                  <a:spcPts val="600"/>
                </a:spcAft>
              </a:pPr>
              <a:r>
                <a:rPr lang="ru-RU" sz="1200" dirty="0">
                  <a:solidFill>
                    <a:srgbClr val="1F47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0</a:t>
              </a:r>
            </a:p>
          </p:txBody>
        </p:sp>
        <p:graphicFrame>
          <p:nvGraphicFramePr>
            <p:cNvPr id="2" name="Object 34"/>
            <p:cNvGraphicFramePr>
              <a:graphicFrameLocks/>
            </p:cNvGraphicFramePr>
            <p:nvPr>
              <p:extLst/>
            </p:nvPr>
          </p:nvGraphicFramePr>
          <p:xfrm>
            <a:off x="474663" y="2359273"/>
            <a:ext cx="2857500" cy="150177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cxnSp>
        <p:nvCxnSpPr>
          <p:cNvPr id="7" name="Прямая соединительная линия 6"/>
          <p:cNvCxnSpPr/>
          <p:nvPr/>
        </p:nvCxnSpPr>
        <p:spPr>
          <a:xfrm>
            <a:off x="4283968" y="2505646"/>
            <a:ext cx="0" cy="3515642"/>
          </a:xfrm>
          <a:prstGeom prst="line">
            <a:avLst/>
          </a:prstGeom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721431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554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25413" y="333375"/>
            <a:ext cx="8047037" cy="647700"/>
          </a:xfrm>
        </p:spPr>
        <p:txBody>
          <a:bodyPr/>
          <a:lstStyle/>
          <a:p>
            <a:pPr marL="176213" eaLnBrk="1" hangingPunct="1"/>
            <a:r>
              <a:rPr lang="ru-RU" sz="2000" b="1" smtClean="0">
                <a:latin typeface="Arial" panose="020B0604020202020204" pitchFamily="34" charset="0"/>
                <a:cs typeface="Arial" panose="020B0604020202020204" pitchFamily="34" charset="0"/>
              </a:rPr>
              <a:t>Разработка профессиональных стандартов</a:t>
            </a:r>
            <a:endParaRPr lang="ru-RU" sz="200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75431" y="1268760"/>
            <a:ext cx="3873500" cy="82550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1600" b="1" dirty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профессиональных стандартов в интересах ГК «</a:t>
            </a:r>
            <a:r>
              <a:rPr lang="ru-RU" sz="1600" b="1" dirty="0" err="1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атом</a:t>
            </a:r>
            <a:r>
              <a:rPr lang="ru-RU" sz="1600" b="1" dirty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в 2013-2015 годах</a:t>
            </a:r>
          </a:p>
        </p:txBody>
      </p:sp>
      <p:sp>
        <p:nvSpPr>
          <p:cNvPr id="279556" name="Номер слайда 3"/>
          <p:cNvSpPr txBox="1">
            <a:spLocks noGrp="1"/>
          </p:cNvSpPr>
          <p:nvPr/>
        </p:nvSpPr>
        <p:spPr bwMode="auto">
          <a:xfrm>
            <a:off x="8805863" y="6532563"/>
            <a:ext cx="354012" cy="303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fld id="{D03B899D-B50D-4AC0-94DC-7314A63C06EB}" type="slidenum">
              <a:rPr lang="ru-RU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6</a:t>
            </a:fld>
            <a:endParaRPr lang="ru-RU" sz="12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Диаграмма 4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95913303"/>
              </p:ext>
            </p:extLst>
          </p:nvPr>
        </p:nvGraphicFramePr>
        <p:xfrm>
          <a:off x="5110162" y="1631950"/>
          <a:ext cx="3350270" cy="16530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2" name="Прямоугольник 41"/>
          <p:cNvSpPr/>
          <p:nvPr/>
        </p:nvSpPr>
        <p:spPr>
          <a:xfrm>
            <a:off x="4932363" y="1047750"/>
            <a:ext cx="3873500" cy="5857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rgbClr val="00327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Участие НИЯУ МИФИ в разработке профессиональных стандартов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4843463" y="3356992"/>
            <a:ext cx="4051300" cy="33813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rgbClr val="00327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ланы по разработке ПС на 2016 г.</a:t>
            </a:r>
          </a:p>
        </p:txBody>
      </p:sp>
      <p:graphicFrame>
        <p:nvGraphicFramePr>
          <p:cNvPr id="3" name="Диаграмма 46"/>
          <p:cNvGraphicFramePr>
            <a:graphicFrameLocks/>
          </p:cNvGraphicFramePr>
          <p:nvPr>
            <p:extLst/>
          </p:nvPr>
        </p:nvGraphicFramePr>
        <p:xfrm>
          <a:off x="4932363" y="3861048"/>
          <a:ext cx="3635896" cy="2160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16626839"/>
              </p:ext>
            </p:extLst>
          </p:nvPr>
        </p:nvGraphicFramePr>
        <p:xfrm>
          <a:off x="-14461" y="2237929"/>
          <a:ext cx="4914057" cy="26312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Прямоугольник 43"/>
          <p:cNvSpPr>
            <a:spLocks noChangeArrowheads="1"/>
          </p:cNvSpPr>
          <p:nvPr/>
        </p:nvSpPr>
        <p:spPr bwMode="auto">
          <a:xfrm>
            <a:off x="179512" y="5085184"/>
            <a:ext cx="4608513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1F477D"/>
                </a:solidFill>
                <a:latin typeface="Arial" charset="0"/>
                <a:cs typeface="Arial" charset="0"/>
              </a:rPr>
              <a:t>Охвачено  28  направлений подготовки. В разработке  приняли участие – 590 специалистов из 40 предприятий Государственной корпорации «</a:t>
            </a:r>
            <a:r>
              <a:rPr lang="ru-RU" sz="1200" b="1" dirty="0" err="1">
                <a:solidFill>
                  <a:srgbClr val="1F477D"/>
                </a:solidFill>
                <a:latin typeface="Arial" charset="0"/>
                <a:cs typeface="Arial" charset="0"/>
              </a:rPr>
              <a:t>Росатом</a:t>
            </a:r>
            <a:r>
              <a:rPr lang="ru-RU" sz="1200" b="1" dirty="0">
                <a:solidFill>
                  <a:srgbClr val="1F477D"/>
                </a:solidFill>
                <a:latin typeface="Arial" charset="0"/>
                <a:cs typeface="Arial" charset="0"/>
              </a:rPr>
              <a:t>»</a:t>
            </a:r>
          </a:p>
        </p:txBody>
      </p:sp>
    </p:spTree>
    <p:extLst>
      <p:ext uri="{BB962C8B-B14F-4D97-AF65-F5344CB8AC3E}">
        <p14:creationId xmlns:p14="http://schemas.microsoft.com/office/powerpoint/2010/main" val="196616204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BBDFB25-A198-4E71-95C6-5E402F706E66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ru-RU" smtClean="0"/>
          </a:p>
        </p:txBody>
      </p:sp>
      <p:sp>
        <p:nvSpPr>
          <p:cNvPr id="53250" name="TextBox 4"/>
          <p:cNvSpPr txBox="1">
            <a:spLocks noChangeArrowheads="1"/>
          </p:cNvSpPr>
          <p:nvPr/>
        </p:nvSpPr>
        <p:spPr bwMode="auto">
          <a:xfrm>
            <a:off x="683568" y="332656"/>
            <a:ext cx="6978674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Arial" charset="0"/>
                <a:cs typeface="Arial" charset="0"/>
              </a:rPr>
              <a:t>Участие предприятий в </a:t>
            </a:r>
            <a:r>
              <a:rPr lang="ru-RU" b="1" dirty="0">
                <a:solidFill>
                  <a:schemeClr val="bg1"/>
                </a:solidFill>
                <a:latin typeface="Arial" charset="0"/>
                <a:cs typeface="Arial" charset="0"/>
              </a:rPr>
              <a:t>разработке</a:t>
            </a:r>
            <a:r>
              <a:rPr lang="ru-RU" sz="2000" b="1" dirty="0">
                <a:solidFill>
                  <a:schemeClr val="bg1"/>
                </a:solidFill>
                <a:latin typeface="Arial" charset="0"/>
                <a:cs typeface="Arial" charset="0"/>
              </a:rPr>
              <a:t> профессиональных стандартов</a:t>
            </a:r>
          </a:p>
        </p:txBody>
      </p:sp>
      <p:sp>
        <p:nvSpPr>
          <p:cNvPr id="53251" name="TextBox 5"/>
          <p:cNvSpPr txBox="1">
            <a:spLocks noChangeArrowheads="1"/>
          </p:cNvSpPr>
          <p:nvPr/>
        </p:nvSpPr>
        <p:spPr bwMode="auto">
          <a:xfrm>
            <a:off x="2987675" y="1341438"/>
            <a:ext cx="50657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endParaRPr lang="ru-RU" sz="1200" b="1">
              <a:solidFill>
                <a:schemeClr val="tx1"/>
              </a:solidFill>
            </a:endParaRPr>
          </a:p>
        </p:txBody>
      </p:sp>
      <p:sp>
        <p:nvSpPr>
          <p:cNvPr id="53252" name="TextBox 6"/>
          <p:cNvSpPr txBox="1">
            <a:spLocks noChangeArrowheads="1"/>
          </p:cNvSpPr>
          <p:nvPr/>
        </p:nvSpPr>
        <p:spPr bwMode="auto">
          <a:xfrm>
            <a:off x="3851275" y="1922463"/>
            <a:ext cx="4608513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endParaRPr lang="ru-RU" altLang="ru-RU" sz="1200">
              <a:solidFill>
                <a:schemeClr val="tx1"/>
              </a:solidFill>
            </a:endParaRPr>
          </a:p>
        </p:txBody>
      </p:sp>
      <p:sp>
        <p:nvSpPr>
          <p:cNvPr id="53253" name="TextBox 8"/>
          <p:cNvSpPr txBox="1">
            <a:spLocks noChangeArrowheads="1"/>
          </p:cNvSpPr>
          <p:nvPr/>
        </p:nvSpPr>
        <p:spPr bwMode="auto">
          <a:xfrm>
            <a:off x="3851275" y="3030538"/>
            <a:ext cx="4752975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endParaRPr lang="ru-RU" altLang="ru-RU" sz="1200">
              <a:solidFill>
                <a:schemeClr val="tx1"/>
              </a:solidFill>
            </a:endParaRPr>
          </a:p>
        </p:txBody>
      </p:sp>
      <p:sp>
        <p:nvSpPr>
          <p:cNvPr id="53254" name="TextBox 9"/>
          <p:cNvSpPr txBox="1">
            <a:spLocks noChangeArrowheads="1"/>
          </p:cNvSpPr>
          <p:nvPr/>
        </p:nvSpPr>
        <p:spPr bwMode="auto">
          <a:xfrm>
            <a:off x="684213" y="3676650"/>
            <a:ext cx="5400675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endParaRPr lang="ru-RU" altLang="ru-RU" sz="1200" b="1">
              <a:solidFill>
                <a:schemeClr val="tx1"/>
              </a:solidFill>
            </a:endParaRPr>
          </a:p>
        </p:txBody>
      </p:sp>
      <p:pic>
        <p:nvPicPr>
          <p:cNvPr id="53256" name="Picture 6" descr="F:\Рабочая\Инна_рабочая\_НЯИК\Профстандарты_!\ЛОГОТИПЫ НЯИК\greenatom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638550" y="5248275"/>
            <a:ext cx="1200150" cy="65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257" name="Picture 2" descr="https://day.career.mephi.ru/mediafiles/u/images/logos/TVEL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64475" y="5748338"/>
            <a:ext cx="1192213" cy="652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258" name="Picture 5" descr="F:\Рабочая\Инна_рабочая\_НЯИК\Профстандарты_!\ЛОГОТИПЫ НЯИК\division2 (1)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476375" y="5353050"/>
            <a:ext cx="1987550" cy="442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259" name="Picture 4" descr="F:\Рабочая\Инна_рабочая\_НЯИК\Профстандарты_!\ЛОГОТИПЫ НЯИК\division1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476375" y="5813425"/>
            <a:ext cx="11477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260" name="Picture 3" descr="F:\Рабочая\Инна_рабочая\_НЯИК\Профстандарты_!\ЛОГОТИПЫ НЯИК\atomenergoproekt (1)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539038" y="5221288"/>
            <a:ext cx="1525587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261" name="Прямоугольник 1"/>
          <p:cNvSpPr>
            <a:spLocks noChangeArrowheads="1"/>
          </p:cNvSpPr>
          <p:nvPr/>
        </p:nvSpPr>
        <p:spPr bwMode="auto">
          <a:xfrm>
            <a:off x="473968" y="1166356"/>
            <a:ext cx="8418512" cy="39908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indent="-285750">
              <a:lnSpc>
                <a:spcPct val="80000"/>
              </a:lnSpc>
              <a:spcBef>
                <a:spcPct val="20000"/>
              </a:spcBef>
              <a:spcAft>
                <a:spcPts val="100"/>
              </a:spcAft>
              <a:buFont typeface="Wingdings" panose="05000000000000000000" pitchFamily="2" charset="2"/>
              <a:buChar char="Ø"/>
            </a:pP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О «</a:t>
            </a:r>
            <a:r>
              <a:rPr lang="ru-RU" sz="12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инатом</a:t>
            </a: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pPr marL="285750" indent="-285750">
              <a:lnSpc>
                <a:spcPct val="80000"/>
              </a:lnSpc>
              <a:spcBef>
                <a:spcPct val="20000"/>
              </a:spcBef>
              <a:spcAft>
                <a:spcPts val="100"/>
              </a:spcAft>
              <a:buFont typeface="Wingdings" panose="05000000000000000000" pitchFamily="2" charset="2"/>
              <a:buChar char="Ø"/>
            </a:pP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АО ТВЭЛ</a:t>
            </a:r>
          </a:p>
          <a:p>
            <a:pPr marL="285750" indent="-285750">
              <a:lnSpc>
                <a:spcPct val="80000"/>
              </a:lnSpc>
              <a:spcBef>
                <a:spcPct val="20000"/>
              </a:spcBef>
              <a:spcAft>
                <a:spcPts val="100"/>
              </a:spcAft>
              <a:buFont typeface="Wingdings" panose="05000000000000000000" pitchFamily="2" charset="2"/>
              <a:buChar char="Ø"/>
            </a:pP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АО Концерн Росэнергоатом (Ростовская, </a:t>
            </a:r>
            <a:r>
              <a:rPr lang="ru-RU" sz="12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лаковская</a:t>
            </a: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оворонежская</a:t>
            </a: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Курская, Ленинградская, Калининская, Белоярская, Смоленская, Кольская, Волгоградская атомные электростанции)</a:t>
            </a:r>
          </a:p>
          <a:p>
            <a:pPr marL="285750" indent="-285750">
              <a:lnSpc>
                <a:spcPct val="80000"/>
              </a:lnSpc>
              <a:spcBef>
                <a:spcPct val="20000"/>
              </a:spcBef>
              <a:spcAft>
                <a:spcPts val="100"/>
              </a:spcAft>
              <a:buFont typeface="Wingdings" panose="05000000000000000000" pitchFamily="2" charset="2"/>
              <a:buChar char="Ø"/>
            </a:pP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АО «Научно-исследовательский и конструкторский институт энерготехники имени Н.А. </a:t>
            </a:r>
            <a:r>
              <a:rPr lang="ru-RU" sz="12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лежаля</a:t>
            </a: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(ОАО НИКИЭТ)</a:t>
            </a:r>
          </a:p>
          <a:p>
            <a:pPr marL="285750" indent="-285750">
              <a:lnSpc>
                <a:spcPct val="80000"/>
              </a:lnSpc>
              <a:spcBef>
                <a:spcPct val="20000"/>
              </a:spcBef>
              <a:spcAft>
                <a:spcPts val="100"/>
              </a:spcAft>
              <a:buFont typeface="Wingdings" panose="05000000000000000000" pitchFamily="2" charset="2"/>
              <a:buChar char="Ø"/>
            </a:pP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ГУП «Комбинат </a:t>
            </a:r>
            <a:r>
              <a:rPr lang="ru-RU" sz="12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химприбор</a:t>
            </a: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(ФГУП ЭХП)</a:t>
            </a:r>
          </a:p>
          <a:p>
            <a:pPr marL="285750" indent="-285750">
              <a:lnSpc>
                <a:spcPct val="80000"/>
              </a:lnSpc>
              <a:spcBef>
                <a:spcPct val="20000"/>
              </a:spcBef>
              <a:spcAft>
                <a:spcPts val="100"/>
              </a:spcAft>
              <a:buFont typeface="Wingdings" panose="05000000000000000000" pitchFamily="2" charset="2"/>
              <a:buChar char="Ø"/>
            </a:pP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ГУП «Всероссийский научно-исследовательский институт автоматики им. Н.Л. Духова» (ФГУП ВНИИА)</a:t>
            </a:r>
          </a:p>
          <a:p>
            <a:pPr marL="285750" indent="-285750">
              <a:lnSpc>
                <a:spcPct val="80000"/>
              </a:lnSpc>
              <a:spcBef>
                <a:spcPct val="20000"/>
              </a:spcBef>
              <a:spcAft>
                <a:spcPts val="100"/>
              </a:spcAft>
              <a:buFont typeface="Wingdings" panose="05000000000000000000" pitchFamily="2" charset="2"/>
              <a:buChar char="Ø"/>
            </a:pP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ГУП «Производственное объединение «МАЯК»</a:t>
            </a:r>
          </a:p>
          <a:p>
            <a:pPr marL="285750" indent="-285750">
              <a:lnSpc>
                <a:spcPct val="80000"/>
              </a:lnSpc>
              <a:spcBef>
                <a:spcPct val="20000"/>
              </a:spcBef>
              <a:spcAft>
                <a:spcPts val="100"/>
              </a:spcAft>
              <a:buFont typeface="Wingdings" panose="05000000000000000000" pitchFamily="2" charset="2"/>
              <a:buChar char="Ø"/>
            </a:pP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ГУП «РФЯЦ – ВНИИ технической физики им. академика Е.И. </a:t>
            </a:r>
            <a:r>
              <a:rPr lang="ru-RU" sz="12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абахина</a:t>
            </a: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pPr marL="285750" indent="-285750">
              <a:lnSpc>
                <a:spcPct val="80000"/>
              </a:lnSpc>
              <a:spcBef>
                <a:spcPct val="20000"/>
              </a:spcBef>
              <a:spcAft>
                <a:spcPts val="100"/>
              </a:spcAft>
              <a:buFont typeface="Wingdings" panose="05000000000000000000" pitchFamily="2" charset="2"/>
              <a:buChar char="Ø"/>
            </a:pP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ГУП «РФЯЦ – ВНИИ экспериментальной физики»</a:t>
            </a:r>
          </a:p>
          <a:p>
            <a:pPr marL="285750" indent="-285750">
              <a:lnSpc>
                <a:spcPct val="80000"/>
              </a:lnSpc>
              <a:spcBef>
                <a:spcPct val="20000"/>
              </a:spcBef>
              <a:spcAft>
                <a:spcPts val="100"/>
              </a:spcAft>
              <a:buFont typeface="Wingdings" panose="05000000000000000000" pitchFamily="2" charset="2"/>
              <a:buChar char="Ø"/>
            </a:pP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ГУП «ФНЦП Производственное объединение „Старт“ имени M. B. Проценко»  (ПО СТАРТ)</a:t>
            </a:r>
          </a:p>
          <a:p>
            <a:pPr marL="285750" indent="-285750">
              <a:lnSpc>
                <a:spcPct val="80000"/>
              </a:lnSpc>
              <a:spcBef>
                <a:spcPct val="20000"/>
              </a:spcBef>
              <a:spcAft>
                <a:spcPts val="100"/>
              </a:spcAft>
              <a:buFont typeface="Wingdings" panose="05000000000000000000" pitchFamily="2" charset="2"/>
              <a:buChar char="Ø"/>
            </a:pP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ГУП ФНПЦ «Научно-исследовательский институт измерительных систем им. Ю.Е. </a:t>
            </a:r>
            <a:r>
              <a:rPr lang="ru-RU" sz="12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дакова</a:t>
            </a: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(ФГУП ФНПЦ НИИС)</a:t>
            </a:r>
          </a:p>
          <a:p>
            <a:pPr marL="285750" indent="-285750">
              <a:lnSpc>
                <a:spcPct val="80000"/>
              </a:lnSpc>
              <a:spcBef>
                <a:spcPct val="20000"/>
              </a:spcBef>
              <a:spcAft>
                <a:spcPts val="100"/>
              </a:spcAft>
              <a:buFont typeface="Wingdings" panose="05000000000000000000" pitchFamily="2" charset="2"/>
              <a:buChar char="Ø"/>
            </a:pP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АО «Сибирский химический комбинат» (ОАО СХК)</a:t>
            </a:r>
          </a:p>
          <a:p>
            <a:pPr marL="285750" indent="-285750">
              <a:lnSpc>
                <a:spcPct val="80000"/>
              </a:lnSpc>
              <a:spcBef>
                <a:spcPct val="20000"/>
              </a:spcBef>
              <a:spcAft>
                <a:spcPts val="100"/>
              </a:spcAft>
              <a:buFont typeface="Wingdings" panose="05000000000000000000" pitchFamily="2" charset="2"/>
              <a:buChar char="Ø"/>
            </a:pP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АО «Научно-исследовательский, проектно-конструкторский и изыскательский институт «</a:t>
            </a:r>
            <a:r>
              <a:rPr lang="ru-RU" sz="12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томэнергопроект</a:t>
            </a: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pPr marL="285750" indent="-285750">
              <a:lnSpc>
                <a:spcPct val="80000"/>
              </a:lnSpc>
              <a:spcBef>
                <a:spcPct val="20000"/>
              </a:spcBef>
              <a:spcAft>
                <a:spcPts val="100"/>
              </a:spcAft>
              <a:buFont typeface="Wingdings" panose="05000000000000000000" pitchFamily="2" charset="2"/>
              <a:buChar char="Ø"/>
            </a:pP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ГУП «Горно-химический комбинат» (ФГУП ГХК)</a:t>
            </a:r>
          </a:p>
          <a:p>
            <a:pPr marL="285750" indent="-285750">
              <a:lnSpc>
                <a:spcPct val="80000"/>
              </a:lnSpc>
              <a:spcBef>
                <a:spcPct val="20000"/>
              </a:spcBef>
              <a:spcAft>
                <a:spcPts val="100"/>
              </a:spcAft>
              <a:buFont typeface="Wingdings" panose="05000000000000000000" pitchFamily="2" charset="2"/>
              <a:buChar char="Ø"/>
            </a:pP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ГУП «Научно-исследовательский институт Научно-производственное объединение «ЛУЧ» (НПО ЛУЧ)</a:t>
            </a:r>
          </a:p>
          <a:p>
            <a:pPr marL="285750" indent="-285750">
              <a:lnSpc>
                <a:spcPct val="80000"/>
              </a:lnSpc>
              <a:spcBef>
                <a:spcPct val="20000"/>
              </a:spcBef>
              <a:spcAft>
                <a:spcPts val="100"/>
              </a:spcAft>
              <a:buFont typeface="Wingdings" panose="05000000000000000000" pitchFamily="2" charset="2"/>
              <a:buChar char="Ø"/>
            </a:pP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ОО Ядерное общество России </a:t>
            </a:r>
          </a:p>
          <a:p>
            <a:pPr marL="285750" indent="-285750">
              <a:lnSpc>
                <a:spcPct val="80000"/>
              </a:lnSpc>
              <a:spcBef>
                <a:spcPct val="20000"/>
              </a:spcBef>
              <a:spcAft>
                <a:spcPts val="100"/>
              </a:spcAft>
              <a:buFont typeface="Wingdings" panose="05000000000000000000" pitchFamily="2" charset="2"/>
              <a:buChar char="Ø"/>
            </a:pP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социация вузов «Консорциум опорных вузов  ГК «</a:t>
            </a:r>
            <a:r>
              <a:rPr lang="ru-RU" sz="12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атом</a:t>
            </a: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</a:p>
        </p:txBody>
      </p:sp>
      <p:pic>
        <p:nvPicPr>
          <p:cNvPr id="53262" name="Picture 11" descr="F:\Рабочая\Инна_рабочая\_НЯИК\Профстандарты_!\ЛОГОТИПЫ НЯИК\RFYATC-ZNIITF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132138" y="5892800"/>
            <a:ext cx="97155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263" name="Picture 12" descr="F:\Рабочая\Инна_рабочая\_НЯИК\Профстандарты_!\ЛОГОТИПЫ НЯИК\start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3975" y="6021388"/>
            <a:ext cx="1095375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264" name="Picture 10" descr="F:\Рабочая\Инна_рабочая\_НЯИК\Профстандарты_!\ЛОГОТИПЫ НЯИК\NIKIET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516688" y="5859463"/>
            <a:ext cx="1095375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265" name="Picture 7" descr="F:\Рабочая\Инна_рабочая\_НЯИК\Профстандарты_!\ЛОГОТИПЫ НЯИК\GXK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443663" y="5226050"/>
            <a:ext cx="1095375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266" name="Picture 9" descr="F:\Рабочая\Инна_рабочая\_НЯИК\Профстандарты_!\ЛОГОТИПЫ НЯИК\NIIS.pn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4838700" y="5813425"/>
            <a:ext cx="1095375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267" name="Picture 8" descr="F:\Рабочая\Инна_рабочая\_НЯИК\Профстандарты_!\ЛОГОТИПЫ НЯИК\header-icon3.pn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301625" y="5254625"/>
            <a:ext cx="579438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268" name="Picture 13" descr="F:\Рабочая\Инна_рабочая\_НЯИК\Профстандарты_!\ЛОГОТИПЫ НЯИК\VNIIA(1)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5068888" y="5226050"/>
            <a:ext cx="1095375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Rectangle 63"/>
          <p:cNvSpPr>
            <a:spLocks noGrp="1"/>
          </p:cNvSpPr>
          <p:nvPr>
            <p:ph type="title"/>
          </p:nvPr>
        </p:nvSpPr>
        <p:spPr>
          <a:xfrm>
            <a:off x="467544" y="375480"/>
            <a:ext cx="7200998" cy="574774"/>
          </a:xfrm>
        </p:spPr>
        <p:txBody>
          <a:bodyPr/>
          <a:lstStyle/>
          <a:p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Бизнес-процессы атомной </a:t>
            </a: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расли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и профессиональные стандарты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9492" name="Group 16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84173607"/>
              </p:ext>
            </p:extLst>
          </p:nvPr>
        </p:nvGraphicFramePr>
        <p:xfrm>
          <a:off x="179512" y="3645024"/>
          <a:ext cx="8784976" cy="2664296"/>
        </p:xfrm>
        <a:graphic>
          <a:graphicData uri="http://schemas.openxmlformats.org/drawingml/2006/table">
            <a:tbl>
              <a:tblPr/>
              <a:tblGrid>
                <a:gridCol w="1080120"/>
                <a:gridCol w="1080120"/>
                <a:gridCol w="1080120"/>
                <a:gridCol w="1656184"/>
                <a:gridCol w="1872208"/>
                <a:gridCol w="1224136"/>
                <a:gridCol w="792088"/>
              </a:tblGrid>
              <a:tr h="65496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новные процессные области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новные бизнес-процессы или виды труда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цессы группы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С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общённая трудовая функция (ОТФ)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удовая функция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ровень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F497D"/>
                    </a:solidFill>
                  </a:tcPr>
                </a:tc>
              </a:tr>
              <a:tr h="794846">
                <a:tc rowSpan="2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ерационные процессы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енерация электроэнергии / эксплуатация АЭС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и сбыт </a:t>
                      </a:r>
                      <a:r>
                        <a:rPr kumimoji="0" lang="ru-RU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плоэнерги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лесарь по обслуживанию оборудования АЭС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ксплуатационное обслуживание технологического процесса  на оборудовании и системах, входящих в зону обслуживания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, включённые в ОТФ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21448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пециалист по эксплуатации электроэнергетических систем плавучих атомных станций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еспечение работы ЭЭС и оборудования ПАТЭС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еспечение оперативного управления ЭЭС и оборудованием ПАТЭС, производящим и выдающим электроэнергию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7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4305" name="Номер слайда 1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E16AD55-BDA5-408F-AE3A-AB1C95088FE7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ru-RU" smtClean="0"/>
          </a:p>
        </p:txBody>
      </p:sp>
      <p:sp>
        <p:nvSpPr>
          <p:cNvPr id="5" name="Rectangle 3"/>
          <p:cNvSpPr>
            <a:spLocks/>
          </p:cNvSpPr>
          <p:nvPr/>
        </p:nvSpPr>
        <p:spPr bwMode="auto">
          <a:xfrm>
            <a:off x="1115890" y="2997200"/>
            <a:ext cx="6840486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spcBef>
                <a:spcPct val="20000"/>
              </a:spcBef>
              <a:buFont typeface="Arial" charset="0"/>
              <a:buNone/>
            </a:pPr>
            <a:r>
              <a:rPr lang="ru-RU" sz="1400" b="1" dirty="0">
                <a:solidFill>
                  <a:srgbClr val="1F47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тнесение обобщённых трудовых функций профессиональных стандартов с основными бизнес-процессами отрасли </a:t>
            </a:r>
          </a:p>
        </p:txBody>
      </p:sp>
      <p:sp>
        <p:nvSpPr>
          <p:cNvPr id="6" name="Rectangle 3"/>
          <p:cNvSpPr>
            <a:spLocks/>
          </p:cNvSpPr>
          <p:nvPr/>
        </p:nvSpPr>
        <p:spPr bwMode="auto">
          <a:xfrm>
            <a:off x="1763688" y="1268760"/>
            <a:ext cx="5832648" cy="14391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85750" indent="-285750" eaLnBrk="0" hangingPunct="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ru-RU" sz="1400" b="1" dirty="0">
                <a:solidFill>
                  <a:srgbClr val="1F477D"/>
                </a:solidFill>
                <a:latin typeface="Arial" charset="0"/>
                <a:ea typeface="+mj-ea"/>
                <a:cs typeface="+mj-cs"/>
              </a:rPr>
              <a:t>Управление отношениями с внешней средой</a:t>
            </a:r>
          </a:p>
          <a:p>
            <a:pPr marL="285750" indent="-285750" eaLnBrk="0" hangingPunct="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ru-RU" sz="1400" b="1" dirty="0">
                <a:solidFill>
                  <a:srgbClr val="1F477D"/>
                </a:solidFill>
                <a:latin typeface="Arial" charset="0"/>
                <a:ea typeface="+mj-ea"/>
                <a:cs typeface="+mj-cs"/>
              </a:rPr>
              <a:t>Планирование, организация и развитие</a:t>
            </a:r>
          </a:p>
          <a:p>
            <a:pPr marL="285750" indent="-285750" eaLnBrk="0" hangingPunct="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ru-RU" sz="1400" b="1" dirty="0">
                <a:solidFill>
                  <a:srgbClr val="1F477D"/>
                </a:solidFill>
                <a:latin typeface="Arial" charset="0"/>
                <a:ea typeface="+mj-ea"/>
                <a:cs typeface="+mj-cs"/>
              </a:rPr>
              <a:t>Безопасность и контроль</a:t>
            </a:r>
          </a:p>
          <a:p>
            <a:pPr marL="285750" indent="-285750" eaLnBrk="0" hangingPunct="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ru-RU" sz="1400" b="1" dirty="0">
                <a:solidFill>
                  <a:srgbClr val="1F477D"/>
                </a:solidFill>
                <a:latin typeface="Arial" charset="0"/>
                <a:ea typeface="+mj-ea"/>
                <a:cs typeface="+mj-cs"/>
              </a:rPr>
              <a:t>Операционные процессы</a:t>
            </a:r>
          </a:p>
          <a:p>
            <a:pPr marL="285750" indent="-285750" eaLnBrk="0" hangingPunct="0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ru-RU" sz="1400" b="1" dirty="0">
                <a:solidFill>
                  <a:srgbClr val="1F477D"/>
                </a:solidFill>
                <a:latin typeface="Arial" charset="0"/>
                <a:ea typeface="+mj-ea"/>
                <a:cs typeface="+mj-cs"/>
              </a:rPr>
              <a:t>Поддерживающие процессы</a:t>
            </a:r>
          </a:p>
          <a:p>
            <a:pPr marL="171450" indent="-17145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endParaRPr lang="ru-RU" sz="1200" b="1" dirty="0">
              <a:solidFill>
                <a:srgbClr val="1F477D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419" name="Rectangle 2"/>
          <p:cNvSpPr>
            <a:spLocks noGrp="1"/>
          </p:cNvSpPr>
          <p:nvPr>
            <p:ph type="title"/>
          </p:nvPr>
        </p:nvSpPr>
        <p:spPr>
          <a:xfrm>
            <a:off x="322833" y="332656"/>
            <a:ext cx="7273503" cy="638175"/>
          </a:xfrm>
        </p:spPr>
        <p:txBody>
          <a:bodyPr/>
          <a:lstStyle/>
          <a:p>
            <a:r>
              <a:rPr lang="ru-RU" sz="1800" b="1" smtClean="0">
                <a:latin typeface="Arial" panose="020B0604020202020204" pitchFamily="34" charset="0"/>
                <a:cs typeface="Arial" panose="020B0604020202020204" pitchFamily="34" charset="0"/>
              </a:rPr>
              <a:t>Статистика охвата профессиональными стандартами бизнес-процессов отрасли</a:t>
            </a:r>
            <a:r>
              <a:rPr lang="ru-RU" sz="180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1420" name="Номер слайда 1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423A9A7-2388-4F1B-B8C6-FA4BF121837F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ru-RU" smtClean="0"/>
          </a:p>
        </p:txBody>
      </p:sp>
      <p:graphicFrame>
        <p:nvGraphicFramePr>
          <p:cNvPr id="2" name="Object 4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77129669"/>
              </p:ext>
            </p:extLst>
          </p:nvPr>
        </p:nvGraphicFramePr>
        <p:xfrm>
          <a:off x="-108520" y="1340768"/>
          <a:ext cx="5067672" cy="4348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1426" name="Group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3656525"/>
              </p:ext>
            </p:extLst>
          </p:nvPr>
        </p:nvGraphicFramePr>
        <p:xfrm>
          <a:off x="4427984" y="1700807"/>
          <a:ext cx="4536504" cy="4338899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2041232"/>
                <a:gridCol w="1487160"/>
                <a:gridCol w="1008112"/>
              </a:tblGrid>
              <a:tr h="110360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1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оружение АЭС в России /за рубежом 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С Инженер по строительству атомных электрических станций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 anchor="ctr" horzOverflow="overflow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зидент ОАО «НИАЭП»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F477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 anchor="ctr" horzOverflow="overflow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маренко В.И. 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1F477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 anchor="ctr" horzOverflow="overflow">
                    <a:noFill/>
                  </a:tcPr>
                </a:tc>
              </a:tr>
              <a:tr h="102807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1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рвис АЭС в России /за рубежом </a:t>
                      </a:r>
                      <a:endParaRPr kumimoji="0" lang="en-US" sz="1100" b="1" u="none" strike="noStrike" cap="none" normalizeH="0" baseline="0" dirty="0" smtClean="0">
                        <a:ln>
                          <a:noFill/>
                        </a:ln>
                        <a:solidFill>
                          <a:srgbClr val="1F477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С Монтажник оборудования атомных электростанций </a:t>
                      </a: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 anchor="ctr" horzOverflow="overflow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енеральный директор ОАО «</a:t>
                      </a:r>
                      <a:r>
                        <a:rPr kumimoji="0" lang="ru-RU" sz="110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сатом</a:t>
                      </a: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ервис»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F477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 anchor="ctr" horzOverflow="overflow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ьков Е.А. 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1F477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 anchor="ctr" horzOverflow="overflow">
                    <a:noFill/>
                  </a:tcPr>
                </a:tc>
              </a:tr>
              <a:tr h="110360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1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нергетическое машиностроение 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С Наладчик станков и манипуляторов в атомной промышленности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 anchor="ctr" horzOverflow="overflow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енеральный директор АО «</a:t>
                      </a:r>
                      <a:r>
                        <a:rPr kumimoji="0" lang="ru-RU" sz="110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томэнергомаш</a:t>
                      </a: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F477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 anchor="ctr" horzOverflow="overflow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10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кипелов</a:t>
                      </a: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.В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F477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 anchor="ctr" horzOverflow="overflow">
                    <a:noFill/>
                  </a:tcPr>
                </a:tc>
              </a:tr>
              <a:tr h="110360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1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томный флот 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С Специалист судоремонтного производства в области атомного флота </a:t>
                      </a: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 anchor="ctr" horzOverflow="overflow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енеральный директор ФГУП «Атомфлот» 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1F477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 anchor="ctr" horzOverflow="overflow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F477D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кша В.В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F477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46800" marB="46800" anchor="ctr" horzOverflow="overflow">
                    <a:noFill/>
                  </a:tcPr>
                </a:tc>
              </a:tr>
            </a:tbl>
          </a:graphicData>
        </a:graphic>
      </p:graphicFrame>
      <p:sp>
        <p:nvSpPr>
          <p:cNvPr id="101443" name="Rectangle 3"/>
          <p:cNvSpPr>
            <a:spLocks/>
          </p:cNvSpPr>
          <p:nvPr/>
        </p:nvSpPr>
        <p:spPr bwMode="auto">
          <a:xfrm>
            <a:off x="5076056" y="1124744"/>
            <a:ext cx="352901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spcBef>
                <a:spcPct val="20000"/>
              </a:spcBef>
              <a:buFont typeface="Arial" charset="0"/>
              <a:buNone/>
            </a:pPr>
            <a:r>
              <a:rPr lang="ru-RU" sz="1200" b="1" dirty="0">
                <a:solidFill>
                  <a:srgbClr val="1F497D"/>
                </a:solidFill>
                <a:latin typeface="Arial" charset="0"/>
              </a:rPr>
              <a:t>Каждый </a:t>
            </a:r>
            <a:r>
              <a:rPr lang="ru-RU" sz="1200" b="1" dirty="0" err="1">
                <a:solidFill>
                  <a:srgbClr val="1F497D"/>
                </a:solidFill>
                <a:latin typeface="Arial" charset="0"/>
              </a:rPr>
              <a:t>профстандарт</a:t>
            </a:r>
            <a:r>
              <a:rPr lang="ru-RU" sz="1200" b="1" dirty="0">
                <a:solidFill>
                  <a:srgbClr val="1F497D"/>
                </a:solidFill>
                <a:latin typeface="Arial" charset="0"/>
              </a:rPr>
              <a:t> в ГК «</a:t>
            </a:r>
            <a:r>
              <a:rPr lang="ru-RU" sz="1200" b="1" dirty="0" err="1">
                <a:solidFill>
                  <a:srgbClr val="1F497D"/>
                </a:solidFill>
                <a:latin typeface="Arial" charset="0"/>
              </a:rPr>
              <a:t>Росатом</a:t>
            </a:r>
            <a:r>
              <a:rPr lang="ru-RU" sz="1200" b="1" dirty="0">
                <a:solidFill>
                  <a:srgbClr val="1F497D"/>
                </a:solidFill>
                <a:latin typeface="Arial" charset="0"/>
              </a:rPr>
              <a:t>» имеет своего владельц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aU51iVLUaAGaYrPq6t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XMN0TIg0e_MoX2SpOv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P4kkwrH0OsFbGxnWUf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scI.KReUqIW32g1SQG0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0asnAJg0.C7TILX0.D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4kj_1Id0W7AyEDEHopOA"/>
</p:tagLst>
</file>

<file path=ppt/theme/theme1.xml><?xml version="1.0" encoding="utf-8"?>
<a:theme xmlns:a="http://schemas.openxmlformats.org/drawingml/2006/main" name="Основные итоги 2012-2013 года и задачи, стоящ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Стриханов 3">
  <a:themeElements>
    <a:clrScheme name="a-defaul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c-default">
  <a:themeElements>
    <a:clrScheme name="c-defaul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c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-defaul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Основные итоги 2012-2013 года и задачи, стоящие</Template>
  <TotalTime>7558</TotalTime>
  <Words>1460</Words>
  <Application>Microsoft Office PowerPoint</Application>
  <PresentationFormat>Экран (4:3)</PresentationFormat>
  <Paragraphs>316</Paragraphs>
  <Slides>15</Slides>
  <Notes>9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3</vt:i4>
      </vt:variant>
      <vt:variant>
        <vt:lpstr>Заголовки слайдов</vt:lpstr>
      </vt:variant>
      <vt:variant>
        <vt:i4>15</vt:i4>
      </vt:variant>
    </vt:vector>
  </HeadingPairs>
  <TitlesOfParts>
    <vt:vector size="25" baseType="lpstr">
      <vt:lpstr>맑은 고딕</vt:lpstr>
      <vt:lpstr>Arial</vt:lpstr>
      <vt:lpstr>Arial Narrow</vt:lpstr>
      <vt:lpstr>Calibri</vt:lpstr>
      <vt:lpstr>Tahoma</vt:lpstr>
      <vt:lpstr>Times New Roman</vt:lpstr>
      <vt:lpstr>Wingdings</vt:lpstr>
      <vt:lpstr>Основные итоги 2012-2013 года и задачи, стоящие</vt:lpstr>
      <vt:lpstr>Стриханов 3</vt:lpstr>
      <vt:lpstr>c-default</vt:lpstr>
      <vt:lpstr> Опыт развития системы оценки квалификаций в атомной отрасли </vt:lpstr>
      <vt:lpstr>Отраслевая система оценки квалификаций  в сфере атомной энергии</vt:lpstr>
      <vt:lpstr>Презентация PowerPoint</vt:lpstr>
      <vt:lpstr>Презентация PowerPoint</vt:lpstr>
      <vt:lpstr>Формирование отраслевой системы оценки квалификаций и аккредитации образовательных программ</vt:lpstr>
      <vt:lpstr>Разработка профессиональных стандартов</vt:lpstr>
      <vt:lpstr>Презентация PowerPoint</vt:lpstr>
      <vt:lpstr>Бизнес-процессы атомной отрасли  и профессиональные стандарты </vt:lpstr>
      <vt:lpstr>Статистика охвата профессиональными стандартами бизнес-процессов отрасли </vt:lpstr>
      <vt:lpstr>Карта профессиональных квалификаций</vt:lpstr>
      <vt:lpstr>Результаты оценки квалификаций</vt:lpstr>
      <vt:lpstr>Использования профессиональных стандартов в  профессиональной оценке квалификаций</vt:lpstr>
      <vt:lpstr>Презентация PowerPoint</vt:lpstr>
      <vt:lpstr>Отраслевая система обеспечения качества образования</vt:lpstr>
      <vt:lpstr>Благодарю за внимание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Сергей C</cp:lastModifiedBy>
  <cp:revision>487</cp:revision>
  <cp:lastPrinted>2016-09-20T16:39:45Z</cp:lastPrinted>
  <dcterms:created xsi:type="dcterms:W3CDTF">2014-12-25T06:09:49Z</dcterms:created>
  <dcterms:modified xsi:type="dcterms:W3CDTF">2016-09-20T17:10:33Z</dcterms:modified>
</cp:coreProperties>
</file>